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0" r:id="rId4"/>
    <p:sldMasterId id="2147483682" r:id="rId5"/>
    <p:sldMasterId id="2147483754" r:id="rId6"/>
    <p:sldMasterId id="2147483694" r:id="rId7"/>
    <p:sldMasterId id="2147483748" r:id="rId8"/>
    <p:sldMasterId id="2147483706" r:id="rId9"/>
    <p:sldMasterId id="2147483718" r:id="rId10"/>
    <p:sldMasterId id="2147483742" r:id="rId11"/>
    <p:sldMasterId id="2147483670" r:id="rId12"/>
  </p:sldMasterIdLst>
  <p:notesMasterIdLst>
    <p:notesMasterId r:id="rId18"/>
  </p:notesMasterIdLst>
  <p:sldIdLst>
    <p:sldId id="258" r:id="rId13"/>
    <p:sldId id="257" r:id="rId14"/>
    <p:sldId id="260" r:id="rId15"/>
    <p:sldId id="261" r:id="rId16"/>
    <p:sldId id="259" r:id="rId17"/>
  </p:sldIdLst>
  <p:sldSz cx="9144000" cy="6858000" type="screen4x3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bastian Kanz" initials="SK" lastIdx="2" clrIdx="0">
    <p:extLst>
      <p:ext uri="{19B8F6BF-5375-455C-9EA6-DF929625EA0E}">
        <p15:presenceInfo xmlns:p15="http://schemas.microsoft.com/office/powerpoint/2012/main" userId="S::sebastian.kanz@maibornwolff.de::114b64f1-0b13-4d93-96eb-5adf208132b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A2A2"/>
    <a:srgbClr val="72AE49"/>
    <a:srgbClr val="5E9DD6"/>
    <a:srgbClr val="B7D6A3"/>
    <a:srgbClr val="5D9CD5"/>
    <a:srgbClr val="4472C4"/>
    <a:srgbClr val="7F7F7F"/>
    <a:srgbClr val="203864"/>
    <a:srgbClr val="44546A"/>
    <a:srgbClr val="FD19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30DB6A-A7A2-4146-9D7B-AC756F054741}" v="248" dt="2019-10-16T13:15:37.9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99" autoAdjust="0"/>
    <p:restoredTop sz="94830"/>
  </p:normalViewPr>
  <p:slideViewPr>
    <p:cSldViewPr snapToObjects="1" showGuides="1">
      <p:cViewPr varScale="1">
        <p:scale>
          <a:sx n="85" d="100"/>
          <a:sy n="85" d="100"/>
        </p:scale>
        <p:origin x="140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bastian Kanz" userId="114b64f1-0b13-4d93-96eb-5adf208132be" providerId="ADAL" clId="{3E30DB6A-A7A2-4146-9D7B-AC756F054741}"/>
    <pc:docChg chg="undo redo custSel addSld delSld modSld sldOrd">
      <pc:chgData name="Sebastian Kanz" userId="114b64f1-0b13-4d93-96eb-5adf208132be" providerId="ADAL" clId="{3E30DB6A-A7A2-4146-9D7B-AC756F054741}" dt="2019-10-16T13:16:35.150" v="3088" actId="20577"/>
      <pc:docMkLst>
        <pc:docMk/>
      </pc:docMkLst>
      <pc:sldChg chg="addSp delSp modSp addCm delCm">
        <pc:chgData name="Sebastian Kanz" userId="114b64f1-0b13-4d93-96eb-5adf208132be" providerId="ADAL" clId="{3E30DB6A-A7A2-4146-9D7B-AC756F054741}" dt="2019-10-16T13:15:37.924" v="3085" actId="1035"/>
        <pc:sldMkLst>
          <pc:docMk/>
          <pc:sldMk cId="1488430594" sldId="257"/>
        </pc:sldMkLst>
        <pc:spChg chg="mod">
          <ac:chgData name="Sebastian Kanz" userId="114b64f1-0b13-4d93-96eb-5adf208132be" providerId="ADAL" clId="{3E30DB6A-A7A2-4146-9D7B-AC756F054741}" dt="2019-10-16T08:30:13.845" v="386" actId="14100"/>
          <ac:spMkLst>
            <pc:docMk/>
            <pc:sldMk cId="1488430594" sldId="257"/>
            <ac:spMk id="9" creationId="{C9C99F4F-4488-49E9-8923-581945B712D6}"/>
          </ac:spMkLst>
        </pc:spChg>
        <pc:spChg chg="del mod">
          <ac:chgData name="Sebastian Kanz" userId="114b64f1-0b13-4d93-96eb-5adf208132be" providerId="ADAL" clId="{3E30DB6A-A7A2-4146-9D7B-AC756F054741}" dt="2019-10-16T08:50:10.975" v="592" actId="478"/>
          <ac:spMkLst>
            <pc:docMk/>
            <pc:sldMk cId="1488430594" sldId="257"/>
            <ac:spMk id="11" creationId="{D307D9F7-E128-4A6B-9808-5DD0FE27B148}"/>
          </ac:spMkLst>
        </pc:spChg>
        <pc:spChg chg="mod ord topLvl">
          <ac:chgData name="Sebastian Kanz" userId="114b64f1-0b13-4d93-96eb-5adf208132be" providerId="ADAL" clId="{3E30DB6A-A7A2-4146-9D7B-AC756F054741}" dt="2019-10-16T12:08:12.407" v="2725" actId="164"/>
          <ac:spMkLst>
            <pc:docMk/>
            <pc:sldMk cId="1488430594" sldId="257"/>
            <ac:spMk id="12" creationId="{3E0C25D6-42AF-4C87-8C7E-3CD24777E374}"/>
          </ac:spMkLst>
        </pc:spChg>
        <pc:spChg chg="mod">
          <ac:chgData name="Sebastian Kanz" userId="114b64f1-0b13-4d93-96eb-5adf208132be" providerId="ADAL" clId="{3E30DB6A-A7A2-4146-9D7B-AC756F054741}" dt="2019-10-16T08:54:09.064" v="655" actId="14100"/>
          <ac:spMkLst>
            <pc:docMk/>
            <pc:sldMk cId="1488430594" sldId="257"/>
            <ac:spMk id="17" creationId="{183E4B85-1FDF-4509-8AA3-89B162E0C16B}"/>
          </ac:spMkLst>
        </pc:spChg>
        <pc:spChg chg="mod">
          <ac:chgData name="Sebastian Kanz" userId="114b64f1-0b13-4d93-96eb-5adf208132be" providerId="ADAL" clId="{3E30DB6A-A7A2-4146-9D7B-AC756F054741}" dt="2019-10-16T08:55:04.981" v="663" actId="164"/>
          <ac:spMkLst>
            <pc:docMk/>
            <pc:sldMk cId="1488430594" sldId="257"/>
            <ac:spMk id="18" creationId="{848EEFC1-6E2D-4536-BF1E-230F7D060476}"/>
          </ac:spMkLst>
        </pc:spChg>
        <pc:spChg chg="mod">
          <ac:chgData name="Sebastian Kanz" userId="114b64f1-0b13-4d93-96eb-5adf208132be" providerId="ADAL" clId="{3E30DB6A-A7A2-4146-9D7B-AC756F054741}" dt="2019-10-16T11:55:59.769" v="2522" actId="20577"/>
          <ac:spMkLst>
            <pc:docMk/>
            <pc:sldMk cId="1488430594" sldId="257"/>
            <ac:spMk id="23" creationId="{4E58F404-C5BA-40BB-9567-74A1710D33DC}"/>
          </ac:spMkLst>
        </pc:spChg>
        <pc:spChg chg="mod">
          <ac:chgData name="Sebastian Kanz" userId="114b64f1-0b13-4d93-96eb-5adf208132be" providerId="ADAL" clId="{3E30DB6A-A7A2-4146-9D7B-AC756F054741}" dt="2019-10-16T11:56:27.423" v="2534" actId="14100"/>
          <ac:spMkLst>
            <pc:docMk/>
            <pc:sldMk cId="1488430594" sldId="257"/>
            <ac:spMk id="24" creationId="{19040D49-95F3-4DA6-85F4-8733069770E2}"/>
          </ac:spMkLst>
        </pc:spChg>
        <pc:spChg chg="mod">
          <ac:chgData name="Sebastian Kanz" userId="114b64f1-0b13-4d93-96eb-5adf208132be" providerId="ADAL" clId="{3E30DB6A-A7A2-4146-9D7B-AC756F054741}" dt="2019-10-16T08:57:23.407" v="705" actId="164"/>
          <ac:spMkLst>
            <pc:docMk/>
            <pc:sldMk cId="1488430594" sldId="257"/>
            <ac:spMk id="31" creationId="{FDB21786-36CD-4CD5-8AAC-7ADB8ABB9289}"/>
          </ac:spMkLst>
        </pc:spChg>
        <pc:spChg chg="mod">
          <ac:chgData name="Sebastian Kanz" userId="114b64f1-0b13-4d93-96eb-5adf208132be" providerId="ADAL" clId="{3E30DB6A-A7A2-4146-9D7B-AC756F054741}" dt="2019-10-16T08:57:23.407" v="705" actId="164"/>
          <ac:spMkLst>
            <pc:docMk/>
            <pc:sldMk cId="1488430594" sldId="257"/>
            <ac:spMk id="32" creationId="{0BC19F32-7AC1-4BF0-AB14-C8962E88D537}"/>
          </ac:spMkLst>
        </pc:spChg>
        <pc:spChg chg="mod">
          <ac:chgData name="Sebastian Kanz" userId="114b64f1-0b13-4d93-96eb-5adf208132be" providerId="ADAL" clId="{3E30DB6A-A7A2-4146-9D7B-AC756F054741}" dt="2019-10-16T11:56:18.759" v="2533" actId="1038"/>
          <ac:spMkLst>
            <pc:docMk/>
            <pc:sldMk cId="1488430594" sldId="257"/>
            <ac:spMk id="37" creationId="{ADAB1DE6-652D-45D4-B68E-3C8E36DE1E1C}"/>
          </ac:spMkLst>
        </pc:spChg>
        <pc:spChg chg="add del mod ord">
          <ac:chgData name="Sebastian Kanz" userId="114b64f1-0b13-4d93-96eb-5adf208132be" providerId="ADAL" clId="{3E30DB6A-A7A2-4146-9D7B-AC756F054741}" dt="2019-10-16T08:48:21.926" v="521" actId="478"/>
          <ac:spMkLst>
            <pc:docMk/>
            <pc:sldMk cId="1488430594" sldId="257"/>
            <ac:spMk id="40" creationId="{1139E532-7721-4081-AE2B-6E7729E8ECE0}"/>
          </ac:spMkLst>
        </pc:spChg>
        <pc:spChg chg="add del mod">
          <ac:chgData name="Sebastian Kanz" userId="114b64f1-0b13-4d93-96eb-5adf208132be" providerId="ADAL" clId="{3E30DB6A-A7A2-4146-9D7B-AC756F054741}" dt="2019-10-16T09:01:19.198" v="747" actId="478"/>
          <ac:spMkLst>
            <pc:docMk/>
            <pc:sldMk cId="1488430594" sldId="257"/>
            <ac:spMk id="41" creationId="{D3ED09A5-7137-4C14-8A40-8D287035DB0B}"/>
          </ac:spMkLst>
        </pc:spChg>
        <pc:spChg chg="add mod topLvl">
          <ac:chgData name="Sebastian Kanz" userId="114b64f1-0b13-4d93-96eb-5adf208132be" providerId="ADAL" clId="{3E30DB6A-A7A2-4146-9D7B-AC756F054741}" dt="2019-10-16T11:59:45.975" v="2560" actId="1076"/>
          <ac:spMkLst>
            <pc:docMk/>
            <pc:sldMk cId="1488430594" sldId="257"/>
            <ac:spMk id="50" creationId="{E43B757F-BFEF-43C7-A980-FCD85E50008B}"/>
          </ac:spMkLst>
        </pc:spChg>
        <pc:spChg chg="add mod topLvl">
          <ac:chgData name="Sebastian Kanz" userId="114b64f1-0b13-4d93-96eb-5adf208132be" providerId="ADAL" clId="{3E30DB6A-A7A2-4146-9D7B-AC756F054741}" dt="2019-10-16T09:21:35.525" v="941" actId="2085"/>
          <ac:spMkLst>
            <pc:docMk/>
            <pc:sldMk cId="1488430594" sldId="257"/>
            <ac:spMk id="54" creationId="{24F66180-A642-4E50-B877-9BD18A6D6179}"/>
          </ac:spMkLst>
        </pc:spChg>
        <pc:spChg chg="add mod topLvl">
          <ac:chgData name="Sebastian Kanz" userId="114b64f1-0b13-4d93-96eb-5adf208132be" providerId="ADAL" clId="{3E30DB6A-A7A2-4146-9D7B-AC756F054741}" dt="2019-10-16T09:21:35.525" v="941" actId="2085"/>
          <ac:spMkLst>
            <pc:docMk/>
            <pc:sldMk cId="1488430594" sldId="257"/>
            <ac:spMk id="55" creationId="{EAF0A08E-D94B-447A-AD07-C2CB430F75D0}"/>
          </ac:spMkLst>
        </pc:spChg>
        <pc:spChg chg="add mod topLvl">
          <ac:chgData name="Sebastian Kanz" userId="114b64f1-0b13-4d93-96eb-5adf208132be" providerId="ADAL" clId="{3E30DB6A-A7A2-4146-9D7B-AC756F054741}" dt="2019-10-16T09:21:35.525" v="941" actId="2085"/>
          <ac:spMkLst>
            <pc:docMk/>
            <pc:sldMk cId="1488430594" sldId="257"/>
            <ac:spMk id="56" creationId="{32A20408-0856-408D-91A7-AD3DC9B93C15}"/>
          </ac:spMkLst>
        </pc:spChg>
        <pc:spChg chg="add del mod">
          <ac:chgData name="Sebastian Kanz" userId="114b64f1-0b13-4d93-96eb-5adf208132be" providerId="ADAL" clId="{3E30DB6A-A7A2-4146-9D7B-AC756F054741}" dt="2019-10-16T08:26:25.467" v="340" actId="478"/>
          <ac:spMkLst>
            <pc:docMk/>
            <pc:sldMk cId="1488430594" sldId="257"/>
            <ac:spMk id="76" creationId="{81AF8432-C9B5-4AC6-A85C-DD05100DEA8F}"/>
          </ac:spMkLst>
        </pc:spChg>
        <pc:spChg chg="add del mod">
          <ac:chgData name="Sebastian Kanz" userId="114b64f1-0b13-4d93-96eb-5adf208132be" providerId="ADAL" clId="{3E30DB6A-A7A2-4146-9D7B-AC756F054741}" dt="2019-10-16T08:26:39.528" v="342" actId="478"/>
          <ac:spMkLst>
            <pc:docMk/>
            <pc:sldMk cId="1488430594" sldId="257"/>
            <ac:spMk id="77" creationId="{F1138E07-CC90-44A6-BFE5-1B7EC5696E67}"/>
          </ac:spMkLst>
        </pc:spChg>
        <pc:spChg chg="add del mod">
          <ac:chgData name="Sebastian Kanz" userId="114b64f1-0b13-4d93-96eb-5adf208132be" providerId="ADAL" clId="{3E30DB6A-A7A2-4146-9D7B-AC756F054741}" dt="2019-10-16T08:29:59.432" v="385" actId="478"/>
          <ac:spMkLst>
            <pc:docMk/>
            <pc:sldMk cId="1488430594" sldId="257"/>
            <ac:spMk id="78" creationId="{F5504DDD-1198-475C-BC07-2DCD46EDDD7B}"/>
          </ac:spMkLst>
        </pc:spChg>
        <pc:spChg chg="add del mod">
          <ac:chgData name="Sebastian Kanz" userId="114b64f1-0b13-4d93-96eb-5adf208132be" providerId="ADAL" clId="{3E30DB6A-A7A2-4146-9D7B-AC756F054741}" dt="2019-10-16T08:30:54.128" v="390" actId="478"/>
          <ac:spMkLst>
            <pc:docMk/>
            <pc:sldMk cId="1488430594" sldId="257"/>
            <ac:spMk id="79" creationId="{0FAD7918-81E7-42E6-B6E3-A42FC76D018D}"/>
          </ac:spMkLst>
        </pc:spChg>
        <pc:spChg chg="add del mod">
          <ac:chgData name="Sebastian Kanz" userId="114b64f1-0b13-4d93-96eb-5adf208132be" providerId="ADAL" clId="{3E30DB6A-A7A2-4146-9D7B-AC756F054741}" dt="2019-10-16T09:08:47.023" v="834" actId="478"/>
          <ac:spMkLst>
            <pc:docMk/>
            <pc:sldMk cId="1488430594" sldId="257"/>
            <ac:spMk id="80" creationId="{30DE2C61-5256-4804-AA3C-F0D2E85A38CB}"/>
          </ac:spMkLst>
        </pc:spChg>
        <pc:spChg chg="add del mod">
          <ac:chgData name="Sebastian Kanz" userId="114b64f1-0b13-4d93-96eb-5adf208132be" providerId="ADAL" clId="{3E30DB6A-A7A2-4146-9D7B-AC756F054741}" dt="2019-10-16T12:04:07.636" v="2649"/>
          <ac:spMkLst>
            <pc:docMk/>
            <pc:sldMk cId="1488430594" sldId="257"/>
            <ac:spMk id="84" creationId="{20EDAA38-89D2-4CB3-8A6E-E08176951962}"/>
          </ac:spMkLst>
        </pc:spChg>
        <pc:spChg chg="add del mod">
          <ac:chgData name="Sebastian Kanz" userId="114b64f1-0b13-4d93-96eb-5adf208132be" providerId="ADAL" clId="{3E30DB6A-A7A2-4146-9D7B-AC756F054741}" dt="2019-10-16T08:50:12.770" v="593" actId="478"/>
          <ac:spMkLst>
            <pc:docMk/>
            <pc:sldMk cId="1488430594" sldId="257"/>
            <ac:spMk id="89" creationId="{DABA2B34-731B-4157-BDF2-CB719A6E23F3}"/>
          </ac:spMkLst>
        </pc:spChg>
        <pc:spChg chg="add del">
          <ac:chgData name="Sebastian Kanz" userId="114b64f1-0b13-4d93-96eb-5adf208132be" providerId="ADAL" clId="{3E30DB6A-A7A2-4146-9D7B-AC756F054741}" dt="2019-10-16T08:52:44.423" v="639" actId="478"/>
          <ac:spMkLst>
            <pc:docMk/>
            <pc:sldMk cId="1488430594" sldId="257"/>
            <ac:spMk id="90" creationId="{23231F90-1BB4-4C42-B68F-3F03D9728E1E}"/>
          </ac:spMkLst>
        </pc:spChg>
        <pc:spChg chg="add mod">
          <ac:chgData name="Sebastian Kanz" userId="114b64f1-0b13-4d93-96eb-5adf208132be" providerId="ADAL" clId="{3E30DB6A-A7A2-4146-9D7B-AC756F054741}" dt="2019-10-16T08:57:23.407" v="705" actId="164"/>
          <ac:spMkLst>
            <pc:docMk/>
            <pc:sldMk cId="1488430594" sldId="257"/>
            <ac:spMk id="94" creationId="{996604DE-485A-478E-AF53-9C993F09350C}"/>
          </ac:spMkLst>
        </pc:spChg>
        <pc:spChg chg="add mod topLvl">
          <ac:chgData name="Sebastian Kanz" userId="114b64f1-0b13-4d93-96eb-5adf208132be" providerId="ADAL" clId="{3E30DB6A-A7A2-4146-9D7B-AC756F054741}" dt="2019-10-16T12:08:12.407" v="2725" actId="164"/>
          <ac:spMkLst>
            <pc:docMk/>
            <pc:sldMk cId="1488430594" sldId="257"/>
            <ac:spMk id="96" creationId="{FA45AB4B-8CD8-49DE-93ED-EAA4886C115F}"/>
          </ac:spMkLst>
        </pc:spChg>
        <pc:spChg chg="add del mod">
          <ac:chgData name="Sebastian Kanz" userId="114b64f1-0b13-4d93-96eb-5adf208132be" providerId="ADAL" clId="{3E30DB6A-A7A2-4146-9D7B-AC756F054741}" dt="2019-10-16T09:06:52.940" v="809" actId="478"/>
          <ac:spMkLst>
            <pc:docMk/>
            <pc:sldMk cId="1488430594" sldId="257"/>
            <ac:spMk id="105" creationId="{D42E1A7E-219D-4F31-B980-E8FACB99DD80}"/>
          </ac:spMkLst>
        </pc:spChg>
        <pc:spChg chg="add del mod topLvl">
          <ac:chgData name="Sebastian Kanz" userId="114b64f1-0b13-4d93-96eb-5adf208132be" providerId="ADAL" clId="{3E30DB6A-A7A2-4146-9D7B-AC756F054741}" dt="2019-10-16T12:02:16.345" v="2620" actId="478"/>
          <ac:spMkLst>
            <pc:docMk/>
            <pc:sldMk cId="1488430594" sldId="257"/>
            <ac:spMk id="110" creationId="{D3A2BD11-7DCA-4A8F-A43C-2A983C42F765}"/>
          </ac:spMkLst>
        </pc:spChg>
        <pc:spChg chg="add del mod">
          <ac:chgData name="Sebastian Kanz" userId="114b64f1-0b13-4d93-96eb-5adf208132be" providerId="ADAL" clId="{3E30DB6A-A7A2-4146-9D7B-AC756F054741}" dt="2019-10-16T09:16:14.637" v="891" actId="478"/>
          <ac:spMkLst>
            <pc:docMk/>
            <pc:sldMk cId="1488430594" sldId="257"/>
            <ac:spMk id="118" creationId="{C53F354B-0CF7-40A9-96FA-6B05407B552B}"/>
          </ac:spMkLst>
        </pc:spChg>
        <pc:spChg chg="add del mod ord">
          <ac:chgData name="Sebastian Kanz" userId="114b64f1-0b13-4d93-96eb-5adf208132be" providerId="ADAL" clId="{3E30DB6A-A7A2-4146-9D7B-AC756F054741}" dt="2019-10-16T09:21:04.945" v="933" actId="478"/>
          <ac:spMkLst>
            <pc:docMk/>
            <pc:sldMk cId="1488430594" sldId="257"/>
            <ac:spMk id="121" creationId="{0BE70200-8A9C-4D8F-BD77-0A74921ECABC}"/>
          </ac:spMkLst>
        </pc:spChg>
        <pc:spChg chg="add mod">
          <ac:chgData name="Sebastian Kanz" userId="114b64f1-0b13-4d93-96eb-5adf208132be" providerId="ADAL" clId="{3E30DB6A-A7A2-4146-9D7B-AC756F054741}" dt="2019-10-16T12:08:12.407" v="2725" actId="164"/>
          <ac:spMkLst>
            <pc:docMk/>
            <pc:sldMk cId="1488430594" sldId="257"/>
            <ac:spMk id="130" creationId="{BDCFF999-AEC3-4F8A-88A3-0F144D4DE9CC}"/>
          </ac:spMkLst>
        </pc:spChg>
        <pc:spChg chg="add del mod ord">
          <ac:chgData name="Sebastian Kanz" userId="114b64f1-0b13-4d93-96eb-5adf208132be" providerId="ADAL" clId="{3E30DB6A-A7A2-4146-9D7B-AC756F054741}" dt="2019-10-16T09:21:02.708" v="932" actId="478"/>
          <ac:spMkLst>
            <pc:docMk/>
            <pc:sldMk cId="1488430594" sldId="257"/>
            <ac:spMk id="131" creationId="{221139DA-BA7B-4350-AD86-6033A4C0F256}"/>
          </ac:spMkLst>
        </pc:spChg>
        <pc:spChg chg="add del mod">
          <ac:chgData name="Sebastian Kanz" userId="114b64f1-0b13-4d93-96eb-5adf208132be" providerId="ADAL" clId="{3E30DB6A-A7A2-4146-9D7B-AC756F054741}" dt="2019-10-16T11:54:15.779" v="2489"/>
          <ac:spMkLst>
            <pc:docMk/>
            <pc:sldMk cId="1488430594" sldId="257"/>
            <ac:spMk id="147" creationId="{733A442B-1CA9-487A-BDCB-981BFC024560}"/>
          </ac:spMkLst>
        </pc:spChg>
        <pc:spChg chg="mod">
          <ac:chgData name="Sebastian Kanz" userId="114b64f1-0b13-4d93-96eb-5adf208132be" providerId="ADAL" clId="{3E30DB6A-A7A2-4146-9D7B-AC756F054741}" dt="2019-10-16T11:56:52.264" v="2537" actId="404"/>
          <ac:spMkLst>
            <pc:docMk/>
            <pc:sldMk cId="1488430594" sldId="257"/>
            <ac:spMk id="178" creationId="{9D848847-0E9A-4605-A491-47DCF1118034}"/>
          </ac:spMkLst>
        </pc:spChg>
        <pc:spChg chg="mod">
          <ac:chgData name="Sebastian Kanz" userId="114b64f1-0b13-4d93-96eb-5adf208132be" providerId="ADAL" clId="{3E30DB6A-A7A2-4146-9D7B-AC756F054741}" dt="2019-10-16T12:02:32.615" v="2630" actId="20577"/>
          <ac:spMkLst>
            <pc:docMk/>
            <pc:sldMk cId="1488430594" sldId="257"/>
            <ac:spMk id="198" creationId="{F69545D6-3338-4834-82D0-731F98635D4E}"/>
          </ac:spMkLst>
        </pc:spChg>
        <pc:spChg chg="add mod">
          <ac:chgData name="Sebastian Kanz" userId="114b64f1-0b13-4d93-96eb-5adf208132be" providerId="ADAL" clId="{3E30DB6A-A7A2-4146-9D7B-AC756F054741}" dt="2019-10-16T12:04:29.164" v="2654" actId="164"/>
          <ac:spMkLst>
            <pc:docMk/>
            <pc:sldMk cId="1488430594" sldId="257"/>
            <ac:spMk id="210" creationId="{8D64593D-1FEF-466B-92C8-ADBEEF0B9055}"/>
          </ac:spMkLst>
        </pc:spChg>
        <pc:grpChg chg="add del mod">
          <ac:chgData name="Sebastian Kanz" userId="114b64f1-0b13-4d93-96eb-5adf208132be" providerId="ADAL" clId="{3E30DB6A-A7A2-4146-9D7B-AC756F054741}" dt="2019-10-16T09:04:38.962" v="782" actId="165"/>
          <ac:grpSpMkLst>
            <pc:docMk/>
            <pc:sldMk cId="1488430594" sldId="257"/>
            <ac:grpSpMk id="57" creationId="{A939367E-82E2-4DA8-B415-5BF0489EBD97}"/>
          </ac:grpSpMkLst>
        </pc:grpChg>
        <pc:grpChg chg="add del mod">
          <ac:chgData name="Sebastian Kanz" userId="114b64f1-0b13-4d93-96eb-5adf208132be" providerId="ADAL" clId="{3E30DB6A-A7A2-4146-9D7B-AC756F054741}" dt="2019-10-16T08:21:39.641" v="322" actId="165"/>
          <ac:grpSpMkLst>
            <pc:docMk/>
            <pc:sldMk cId="1488430594" sldId="257"/>
            <ac:grpSpMk id="58" creationId="{5A315830-D721-486F-9465-EF284BCB7B61}"/>
          </ac:grpSpMkLst>
        </pc:grpChg>
        <pc:grpChg chg="add mod">
          <ac:chgData name="Sebastian Kanz" userId="114b64f1-0b13-4d93-96eb-5adf208132be" providerId="ADAL" clId="{3E30DB6A-A7A2-4146-9D7B-AC756F054741}" dt="2019-10-16T12:04:29.164" v="2654" actId="164"/>
          <ac:grpSpMkLst>
            <pc:docMk/>
            <pc:sldMk cId="1488430594" sldId="257"/>
            <ac:grpSpMk id="87" creationId="{400F14B4-C9AE-4B43-AEA9-135D854BA0FE}"/>
          </ac:grpSpMkLst>
        </pc:grpChg>
        <pc:grpChg chg="add mod">
          <ac:chgData name="Sebastian Kanz" userId="114b64f1-0b13-4d93-96eb-5adf208132be" providerId="ADAL" clId="{3E30DB6A-A7A2-4146-9D7B-AC756F054741}" dt="2019-10-16T08:55:31.293" v="668" actId="164"/>
          <ac:grpSpMkLst>
            <pc:docMk/>
            <pc:sldMk cId="1488430594" sldId="257"/>
            <ac:grpSpMk id="91" creationId="{2F01F066-10F3-49BE-8FF0-D2ABD7C7BEB5}"/>
          </ac:grpSpMkLst>
        </pc:grpChg>
        <pc:grpChg chg="add mod">
          <ac:chgData name="Sebastian Kanz" userId="114b64f1-0b13-4d93-96eb-5adf208132be" providerId="ADAL" clId="{3E30DB6A-A7A2-4146-9D7B-AC756F054741}" dt="2019-10-16T08:55:31.293" v="668" actId="164"/>
          <ac:grpSpMkLst>
            <pc:docMk/>
            <pc:sldMk cId="1488430594" sldId="257"/>
            <ac:grpSpMk id="92" creationId="{F9DA3C51-CE95-481A-AA4B-AF7C6D95EDA9}"/>
          </ac:grpSpMkLst>
        </pc:grpChg>
        <pc:grpChg chg="add mod topLvl">
          <ac:chgData name="Sebastian Kanz" userId="114b64f1-0b13-4d93-96eb-5adf208132be" providerId="ADAL" clId="{3E30DB6A-A7A2-4146-9D7B-AC756F054741}" dt="2019-10-16T12:08:12.407" v="2725" actId="164"/>
          <ac:grpSpMkLst>
            <pc:docMk/>
            <pc:sldMk cId="1488430594" sldId="257"/>
            <ac:grpSpMk id="93" creationId="{F2A9477F-2072-4BCB-84F8-855DAFA04988}"/>
          </ac:grpSpMkLst>
        </pc:grpChg>
        <pc:grpChg chg="add mod topLvl">
          <ac:chgData name="Sebastian Kanz" userId="114b64f1-0b13-4d93-96eb-5adf208132be" providerId="ADAL" clId="{3E30DB6A-A7A2-4146-9D7B-AC756F054741}" dt="2019-10-16T12:08:12.407" v="2725" actId="164"/>
          <ac:grpSpMkLst>
            <pc:docMk/>
            <pc:sldMk cId="1488430594" sldId="257"/>
            <ac:grpSpMk id="95" creationId="{E064C171-9DB7-4D7C-B814-249222BE2124}"/>
          </ac:grpSpMkLst>
        </pc:grpChg>
        <pc:grpChg chg="add mod topLvl">
          <ac:chgData name="Sebastian Kanz" userId="114b64f1-0b13-4d93-96eb-5adf208132be" providerId="ADAL" clId="{3E30DB6A-A7A2-4146-9D7B-AC756F054741}" dt="2019-10-16T12:08:12.407" v="2725" actId="164"/>
          <ac:grpSpMkLst>
            <pc:docMk/>
            <pc:sldMk cId="1488430594" sldId="257"/>
            <ac:grpSpMk id="98" creationId="{82860666-0DB4-4616-A4A2-9B833A212C82}"/>
          </ac:grpSpMkLst>
        </pc:grpChg>
        <pc:grpChg chg="add del mod topLvl">
          <ac:chgData name="Sebastian Kanz" userId="114b64f1-0b13-4d93-96eb-5adf208132be" providerId="ADAL" clId="{3E30DB6A-A7A2-4146-9D7B-AC756F054741}" dt="2019-10-16T11:53:34.110" v="2479"/>
          <ac:grpSpMkLst>
            <pc:docMk/>
            <pc:sldMk cId="1488430594" sldId="257"/>
            <ac:grpSpMk id="104" creationId="{8C3EDF82-A669-4C71-9A06-0CCA51B0B16F}"/>
          </ac:grpSpMkLst>
        </pc:grpChg>
        <pc:grpChg chg="add del mod">
          <ac:chgData name="Sebastian Kanz" userId="114b64f1-0b13-4d93-96eb-5adf208132be" providerId="ADAL" clId="{3E30DB6A-A7A2-4146-9D7B-AC756F054741}" dt="2019-10-16T11:53:28.886" v="2478" actId="165"/>
          <ac:grpSpMkLst>
            <pc:docMk/>
            <pc:sldMk cId="1488430594" sldId="257"/>
            <ac:grpSpMk id="122" creationId="{348E7BCC-FD50-4776-BBF6-7D6D822CF22A}"/>
          </ac:grpSpMkLst>
        </pc:grpChg>
        <pc:grpChg chg="add del mod">
          <ac:chgData name="Sebastian Kanz" userId="114b64f1-0b13-4d93-96eb-5adf208132be" providerId="ADAL" clId="{3E30DB6A-A7A2-4146-9D7B-AC756F054741}" dt="2019-10-16T11:54:15.779" v="2489"/>
          <ac:grpSpMkLst>
            <pc:docMk/>
            <pc:sldMk cId="1488430594" sldId="257"/>
            <ac:grpSpMk id="140" creationId="{45DC758A-EDB6-4DD8-B32A-07D05DBD4297}"/>
          </ac:grpSpMkLst>
        </pc:grpChg>
        <pc:grpChg chg="add del">
          <ac:chgData name="Sebastian Kanz" userId="114b64f1-0b13-4d93-96eb-5adf208132be" providerId="ADAL" clId="{3E30DB6A-A7A2-4146-9D7B-AC756F054741}" dt="2019-10-16T11:55:40.788" v="2506"/>
          <ac:grpSpMkLst>
            <pc:docMk/>
            <pc:sldMk cId="1488430594" sldId="257"/>
            <ac:grpSpMk id="148" creationId="{56E3E7A2-FC19-46FA-897E-90B9F14FE5CC}"/>
          </ac:grpSpMkLst>
        </pc:grpChg>
        <pc:grpChg chg="add mod">
          <ac:chgData name="Sebastian Kanz" userId="114b64f1-0b13-4d93-96eb-5adf208132be" providerId="ADAL" clId="{3E30DB6A-A7A2-4146-9D7B-AC756F054741}" dt="2019-10-16T11:55:40.325" v="2505" actId="571"/>
          <ac:grpSpMkLst>
            <pc:docMk/>
            <pc:sldMk cId="1488430594" sldId="257"/>
            <ac:grpSpMk id="159" creationId="{CD76F4E0-7A54-438F-8181-563F470B2091}"/>
          </ac:grpSpMkLst>
        </pc:grpChg>
        <pc:grpChg chg="mod">
          <ac:chgData name="Sebastian Kanz" userId="114b64f1-0b13-4d93-96eb-5adf208132be" providerId="ADAL" clId="{3E30DB6A-A7A2-4146-9D7B-AC756F054741}" dt="2019-10-16T11:55:40.325" v="2505" actId="571"/>
          <ac:grpSpMkLst>
            <pc:docMk/>
            <pc:sldMk cId="1488430594" sldId="257"/>
            <ac:grpSpMk id="160" creationId="{038C43F3-1415-49DA-9045-140A7DD99CD4}"/>
          </ac:grpSpMkLst>
        </pc:grpChg>
        <pc:grpChg chg="add del mod">
          <ac:chgData name="Sebastian Kanz" userId="114b64f1-0b13-4d93-96eb-5adf208132be" providerId="ADAL" clId="{3E30DB6A-A7A2-4146-9D7B-AC756F054741}" dt="2019-10-16T11:59:13.696" v="2555" actId="478"/>
          <ac:grpSpMkLst>
            <pc:docMk/>
            <pc:sldMk cId="1488430594" sldId="257"/>
            <ac:grpSpMk id="170" creationId="{8B313D66-2699-4DC2-A599-594A4D7C1F1D}"/>
          </ac:grpSpMkLst>
        </pc:grpChg>
        <pc:grpChg chg="add mod">
          <ac:chgData name="Sebastian Kanz" userId="114b64f1-0b13-4d93-96eb-5adf208132be" providerId="ADAL" clId="{3E30DB6A-A7A2-4146-9D7B-AC756F054741}" dt="2019-10-16T12:08:12.407" v="2725" actId="164"/>
          <ac:grpSpMkLst>
            <pc:docMk/>
            <pc:sldMk cId="1488430594" sldId="257"/>
            <ac:grpSpMk id="183" creationId="{2E978C7F-87FB-4D2C-8967-B53E66A16BE6}"/>
          </ac:grpSpMkLst>
        </pc:grpChg>
        <pc:grpChg chg="add mod">
          <ac:chgData name="Sebastian Kanz" userId="114b64f1-0b13-4d93-96eb-5adf208132be" providerId="ADAL" clId="{3E30DB6A-A7A2-4146-9D7B-AC756F054741}" dt="2019-10-16T12:02:52.853" v="2634" actId="1076"/>
          <ac:grpSpMkLst>
            <pc:docMk/>
            <pc:sldMk cId="1488430594" sldId="257"/>
            <ac:grpSpMk id="195" creationId="{794548BD-5BEA-4127-A610-3495DDD93263}"/>
          </ac:grpSpMkLst>
        </pc:grpChg>
        <pc:grpChg chg="add mod">
          <ac:chgData name="Sebastian Kanz" userId="114b64f1-0b13-4d93-96eb-5adf208132be" providerId="ADAL" clId="{3E30DB6A-A7A2-4146-9D7B-AC756F054741}" dt="2019-10-16T12:04:46.417" v="2657" actId="1076"/>
          <ac:grpSpMkLst>
            <pc:docMk/>
            <pc:sldMk cId="1488430594" sldId="257"/>
            <ac:grpSpMk id="10244" creationId="{6C82BCDA-3EE9-4F70-9E1D-C3DD29627FAF}"/>
          </ac:grpSpMkLst>
        </pc:grpChg>
        <pc:grpChg chg="add mod">
          <ac:chgData name="Sebastian Kanz" userId="114b64f1-0b13-4d93-96eb-5adf208132be" providerId="ADAL" clId="{3E30DB6A-A7A2-4146-9D7B-AC756F054741}" dt="2019-10-16T13:15:37.924" v="3085" actId="1035"/>
          <ac:grpSpMkLst>
            <pc:docMk/>
            <pc:sldMk cId="1488430594" sldId="257"/>
            <ac:grpSpMk id="10247" creationId="{1A93A8D9-36CF-483A-AA31-49B8059E7E36}"/>
          </ac:grpSpMkLst>
        </pc:grpChg>
        <pc:picChg chg="mod">
          <ac:chgData name="Sebastian Kanz" userId="114b64f1-0b13-4d93-96eb-5adf208132be" providerId="ADAL" clId="{3E30DB6A-A7A2-4146-9D7B-AC756F054741}" dt="2019-10-16T08:57:23.407" v="705" actId="164"/>
          <ac:picMkLst>
            <pc:docMk/>
            <pc:sldMk cId="1488430594" sldId="257"/>
            <ac:picMk id="8" creationId="{92C2EA3F-0429-43B7-BE9B-4D75B07599F6}"/>
          </ac:picMkLst>
        </pc:picChg>
        <pc:picChg chg="mod">
          <ac:chgData name="Sebastian Kanz" userId="114b64f1-0b13-4d93-96eb-5adf208132be" providerId="ADAL" clId="{3E30DB6A-A7A2-4146-9D7B-AC756F054741}" dt="2019-10-16T08:55:04.981" v="663" actId="164"/>
          <ac:picMkLst>
            <pc:docMk/>
            <pc:sldMk cId="1488430594" sldId="257"/>
            <ac:picMk id="14" creationId="{D1C9C951-BFEB-4CD7-8A97-4952C6218AE7}"/>
          </ac:picMkLst>
        </pc:picChg>
        <pc:picChg chg="mod">
          <ac:chgData name="Sebastian Kanz" userId="114b64f1-0b13-4d93-96eb-5adf208132be" providerId="ADAL" clId="{3E30DB6A-A7A2-4146-9D7B-AC756F054741}" dt="2019-10-16T08:55:00.025" v="662" actId="1076"/>
          <ac:picMkLst>
            <pc:docMk/>
            <pc:sldMk cId="1488430594" sldId="257"/>
            <ac:picMk id="16" creationId="{5C148625-9798-4CD3-B4E4-1386F4A65514}"/>
          </ac:picMkLst>
        </pc:picChg>
        <pc:picChg chg="mod ord">
          <ac:chgData name="Sebastian Kanz" userId="114b64f1-0b13-4d93-96eb-5adf208132be" providerId="ADAL" clId="{3E30DB6A-A7A2-4146-9D7B-AC756F054741}" dt="2019-10-16T08:55:31.293" v="668" actId="164"/>
          <ac:picMkLst>
            <pc:docMk/>
            <pc:sldMk cId="1488430594" sldId="257"/>
            <ac:picMk id="20" creationId="{12D50E3B-6B2D-4F74-BDB8-2CB3FBD5367D}"/>
          </ac:picMkLst>
        </pc:picChg>
        <pc:picChg chg="mod">
          <ac:chgData name="Sebastian Kanz" userId="114b64f1-0b13-4d93-96eb-5adf208132be" providerId="ADAL" clId="{3E30DB6A-A7A2-4146-9D7B-AC756F054741}" dt="2019-10-16T08:57:23.407" v="705" actId="164"/>
          <ac:picMkLst>
            <pc:docMk/>
            <pc:sldMk cId="1488430594" sldId="257"/>
            <ac:picMk id="26" creationId="{1A99588F-4450-46ED-9DBC-5BFA8ED0F127}"/>
          </ac:picMkLst>
        </pc:picChg>
        <pc:picChg chg="mod">
          <ac:chgData name="Sebastian Kanz" userId="114b64f1-0b13-4d93-96eb-5adf208132be" providerId="ADAL" clId="{3E30DB6A-A7A2-4146-9D7B-AC756F054741}" dt="2019-10-16T08:57:23.407" v="705" actId="164"/>
          <ac:picMkLst>
            <pc:docMk/>
            <pc:sldMk cId="1488430594" sldId="257"/>
            <ac:picMk id="27" creationId="{0CFED3FD-48FD-4265-8CB0-685CF122A8FC}"/>
          </ac:picMkLst>
        </pc:picChg>
        <pc:picChg chg="mod">
          <ac:chgData name="Sebastian Kanz" userId="114b64f1-0b13-4d93-96eb-5adf208132be" providerId="ADAL" clId="{3E30DB6A-A7A2-4146-9D7B-AC756F054741}" dt="2019-10-16T08:57:23.407" v="705" actId="164"/>
          <ac:picMkLst>
            <pc:docMk/>
            <pc:sldMk cId="1488430594" sldId="257"/>
            <ac:picMk id="28" creationId="{6958BBD9-E5E2-43C2-9C41-1591D20F08CC}"/>
          </ac:picMkLst>
        </pc:picChg>
        <pc:picChg chg="mod">
          <ac:chgData name="Sebastian Kanz" userId="114b64f1-0b13-4d93-96eb-5adf208132be" providerId="ADAL" clId="{3E30DB6A-A7A2-4146-9D7B-AC756F054741}" dt="2019-10-16T08:57:23.407" v="705" actId="164"/>
          <ac:picMkLst>
            <pc:docMk/>
            <pc:sldMk cId="1488430594" sldId="257"/>
            <ac:picMk id="30" creationId="{138AE2DB-77F5-4EAE-B8E1-4C7521EA1FA2}"/>
          </ac:picMkLst>
        </pc:picChg>
        <pc:picChg chg="mod">
          <ac:chgData name="Sebastian Kanz" userId="114b64f1-0b13-4d93-96eb-5adf208132be" providerId="ADAL" clId="{3E30DB6A-A7A2-4146-9D7B-AC756F054741}" dt="2019-10-16T08:57:23.407" v="705" actId="164"/>
          <ac:picMkLst>
            <pc:docMk/>
            <pc:sldMk cId="1488430594" sldId="257"/>
            <ac:picMk id="34" creationId="{85E14CCD-5580-4170-AF33-0F5B89CF8D2A}"/>
          </ac:picMkLst>
        </pc:picChg>
        <pc:picChg chg="mod">
          <ac:chgData name="Sebastian Kanz" userId="114b64f1-0b13-4d93-96eb-5adf208132be" providerId="ADAL" clId="{3E30DB6A-A7A2-4146-9D7B-AC756F054741}" dt="2019-10-16T08:57:23.407" v="705" actId="164"/>
          <ac:picMkLst>
            <pc:docMk/>
            <pc:sldMk cId="1488430594" sldId="257"/>
            <ac:picMk id="35" creationId="{C6028984-2E87-44EC-A9E4-9A6A148FF898}"/>
          </ac:picMkLst>
        </pc:picChg>
        <pc:picChg chg="mod">
          <ac:chgData name="Sebastian Kanz" userId="114b64f1-0b13-4d93-96eb-5adf208132be" providerId="ADAL" clId="{3E30DB6A-A7A2-4146-9D7B-AC756F054741}" dt="2019-10-16T11:56:13.341" v="2525" actId="1038"/>
          <ac:picMkLst>
            <pc:docMk/>
            <pc:sldMk cId="1488430594" sldId="257"/>
            <ac:picMk id="36" creationId="{C84F09A8-2A69-4034-8245-027AC8914982}"/>
          </ac:picMkLst>
        </pc:picChg>
        <pc:picChg chg="add mod topLvl">
          <ac:chgData name="Sebastian Kanz" userId="114b64f1-0b13-4d93-96eb-5adf208132be" providerId="ADAL" clId="{3E30DB6A-A7A2-4146-9D7B-AC756F054741}" dt="2019-10-16T11:59:41.699" v="2559" actId="1076"/>
          <ac:picMkLst>
            <pc:docMk/>
            <pc:sldMk cId="1488430594" sldId="257"/>
            <ac:picMk id="39" creationId="{6D7C4A72-7EFF-4645-B867-2C6DF21EFB1D}"/>
          </ac:picMkLst>
        </pc:picChg>
        <pc:picChg chg="add mod topLvl">
          <ac:chgData name="Sebastian Kanz" userId="114b64f1-0b13-4d93-96eb-5adf208132be" providerId="ADAL" clId="{3E30DB6A-A7A2-4146-9D7B-AC756F054741}" dt="2019-10-16T09:21:35.525" v="941" actId="2085"/>
          <ac:picMkLst>
            <pc:docMk/>
            <pc:sldMk cId="1488430594" sldId="257"/>
            <ac:picMk id="51" creationId="{6053AB73-02D5-49B5-B1A6-6919F4C87EF0}"/>
          </ac:picMkLst>
        </pc:picChg>
        <pc:picChg chg="add mod topLvl">
          <ac:chgData name="Sebastian Kanz" userId="114b64f1-0b13-4d93-96eb-5adf208132be" providerId="ADAL" clId="{3E30DB6A-A7A2-4146-9D7B-AC756F054741}" dt="2019-10-16T09:21:35.525" v="941" actId="2085"/>
          <ac:picMkLst>
            <pc:docMk/>
            <pc:sldMk cId="1488430594" sldId="257"/>
            <ac:picMk id="52" creationId="{55B33A0E-DFC8-4004-9221-011001C898E9}"/>
          </ac:picMkLst>
        </pc:picChg>
        <pc:picChg chg="add mod topLvl">
          <ac:chgData name="Sebastian Kanz" userId="114b64f1-0b13-4d93-96eb-5adf208132be" providerId="ADAL" clId="{3E30DB6A-A7A2-4146-9D7B-AC756F054741}" dt="2019-10-16T09:21:35.525" v="941" actId="2085"/>
          <ac:picMkLst>
            <pc:docMk/>
            <pc:sldMk cId="1488430594" sldId="257"/>
            <ac:picMk id="53" creationId="{E33FAA4F-7961-46AD-90D6-227D2CCB84FE}"/>
          </ac:picMkLst>
        </pc:picChg>
        <pc:picChg chg="add mod topLvl">
          <ac:chgData name="Sebastian Kanz" userId="114b64f1-0b13-4d93-96eb-5adf208132be" providerId="ADAL" clId="{3E30DB6A-A7A2-4146-9D7B-AC756F054741}" dt="2019-10-16T12:08:12.407" v="2725" actId="164"/>
          <ac:picMkLst>
            <pc:docMk/>
            <pc:sldMk cId="1488430594" sldId="257"/>
            <ac:picMk id="120" creationId="{BE1629C1-EA01-4334-9251-EA4D9C63760C}"/>
          </ac:picMkLst>
        </pc:picChg>
        <pc:picChg chg="add mod">
          <ac:chgData name="Sebastian Kanz" userId="114b64f1-0b13-4d93-96eb-5adf208132be" providerId="ADAL" clId="{3E30DB6A-A7A2-4146-9D7B-AC756F054741}" dt="2019-10-16T12:08:12.407" v="2725" actId="164"/>
          <ac:picMkLst>
            <pc:docMk/>
            <pc:sldMk cId="1488430594" sldId="257"/>
            <ac:picMk id="194" creationId="{5EE8D009-086B-456E-A4B2-AA95C46D1E0A}"/>
          </ac:picMkLst>
        </pc:picChg>
        <pc:picChg chg="add del">
          <ac:chgData name="Sebastian Kanz" userId="114b64f1-0b13-4d93-96eb-5adf208132be" providerId="ADAL" clId="{3E30DB6A-A7A2-4146-9D7B-AC756F054741}" dt="2019-10-16T09:12:56.732" v="868" actId="478"/>
          <ac:picMkLst>
            <pc:docMk/>
            <pc:sldMk cId="1488430594" sldId="257"/>
            <ac:picMk id="10248" creationId="{CBF84F31-4E16-48D7-933D-E1490F7067B8}"/>
          </ac:picMkLst>
        </pc:picChg>
        <pc:picChg chg="add del">
          <ac:chgData name="Sebastian Kanz" userId="114b64f1-0b13-4d93-96eb-5adf208132be" providerId="ADAL" clId="{3E30DB6A-A7A2-4146-9D7B-AC756F054741}" dt="2019-10-16T09:12:58.967" v="870" actId="478"/>
          <ac:picMkLst>
            <pc:docMk/>
            <pc:sldMk cId="1488430594" sldId="257"/>
            <ac:picMk id="10250" creationId="{42D77D63-9759-44A4-832A-34F5D9635E0D}"/>
          </ac:picMkLst>
        </pc:picChg>
        <pc:picChg chg="add mod topLvl">
          <ac:chgData name="Sebastian Kanz" userId="114b64f1-0b13-4d93-96eb-5adf208132be" providerId="ADAL" clId="{3E30DB6A-A7A2-4146-9D7B-AC756F054741}" dt="2019-10-16T13:15:37.924" v="3085" actId="1035"/>
          <ac:picMkLst>
            <pc:docMk/>
            <pc:sldMk cId="1488430594" sldId="257"/>
            <ac:picMk id="10252" creationId="{738A7C88-FF38-4FC9-BEEA-12763A167B12}"/>
          </ac:picMkLst>
        </pc:picChg>
        <pc:picChg chg="add del mod">
          <ac:chgData name="Sebastian Kanz" userId="114b64f1-0b13-4d93-96eb-5adf208132be" providerId="ADAL" clId="{3E30DB6A-A7A2-4146-9D7B-AC756F054741}" dt="2019-10-16T09:24:06.787" v="942" actId="478"/>
          <ac:picMkLst>
            <pc:docMk/>
            <pc:sldMk cId="1488430594" sldId="257"/>
            <ac:picMk id="10254" creationId="{5BE5F783-D75C-4AD3-9929-CB2CCBAEDAEB}"/>
          </ac:picMkLst>
        </pc:picChg>
        <pc:picChg chg="add mod topLvl">
          <ac:chgData name="Sebastian Kanz" userId="114b64f1-0b13-4d93-96eb-5adf208132be" providerId="ADAL" clId="{3E30DB6A-A7A2-4146-9D7B-AC756F054741}" dt="2019-10-16T12:08:12.407" v="2725" actId="164"/>
          <ac:picMkLst>
            <pc:docMk/>
            <pc:sldMk cId="1488430594" sldId="257"/>
            <ac:picMk id="10256" creationId="{C1FF2AB5-245A-4F4D-A622-CFA797B17E83}"/>
          </ac:picMkLst>
        </pc:picChg>
        <pc:picChg chg="add mod topLvl">
          <ac:chgData name="Sebastian Kanz" userId="114b64f1-0b13-4d93-96eb-5adf208132be" providerId="ADAL" clId="{3E30DB6A-A7A2-4146-9D7B-AC756F054741}" dt="2019-10-16T12:08:12.407" v="2725" actId="164"/>
          <ac:picMkLst>
            <pc:docMk/>
            <pc:sldMk cId="1488430594" sldId="257"/>
            <ac:picMk id="10258" creationId="{CCFDD578-A22B-49A9-9161-051D8C70C78B}"/>
          </ac:picMkLst>
        </pc:picChg>
        <pc:picChg chg="add mod topLvl">
          <ac:chgData name="Sebastian Kanz" userId="114b64f1-0b13-4d93-96eb-5adf208132be" providerId="ADAL" clId="{3E30DB6A-A7A2-4146-9D7B-AC756F054741}" dt="2019-10-16T12:08:12.407" v="2725" actId="164"/>
          <ac:picMkLst>
            <pc:docMk/>
            <pc:sldMk cId="1488430594" sldId="257"/>
            <ac:picMk id="10260" creationId="{129FF40B-5B89-46AE-8DEC-F99FCB7B25C5}"/>
          </ac:picMkLst>
        </pc:picChg>
        <pc:picChg chg="add mod topLvl">
          <ac:chgData name="Sebastian Kanz" userId="114b64f1-0b13-4d93-96eb-5adf208132be" providerId="ADAL" clId="{3E30DB6A-A7A2-4146-9D7B-AC756F054741}" dt="2019-10-16T12:08:12.407" v="2725" actId="164"/>
          <ac:picMkLst>
            <pc:docMk/>
            <pc:sldMk cId="1488430594" sldId="257"/>
            <ac:picMk id="10264" creationId="{8B6E7794-47E5-4BDE-A815-2527355D60BA}"/>
          </ac:picMkLst>
        </pc:picChg>
        <pc:picChg chg="add mod topLvl">
          <ac:chgData name="Sebastian Kanz" userId="114b64f1-0b13-4d93-96eb-5adf208132be" providerId="ADAL" clId="{3E30DB6A-A7A2-4146-9D7B-AC756F054741}" dt="2019-10-16T12:08:12.407" v="2725" actId="164"/>
          <ac:picMkLst>
            <pc:docMk/>
            <pc:sldMk cId="1488430594" sldId="257"/>
            <ac:picMk id="10266" creationId="{6D165B26-4E6D-4A69-B873-620D5729F30E}"/>
          </ac:picMkLst>
        </pc:picChg>
        <pc:picChg chg="add del mod">
          <ac:chgData name="Sebastian Kanz" userId="114b64f1-0b13-4d93-96eb-5adf208132be" providerId="ADAL" clId="{3E30DB6A-A7A2-4146-9D7B-AC756F054741}" dt="2019-10-16T09:24:20.347" v="947" actId="478"/>
          <ac:picMkLst>
            <pc:docMk/>
            <pc:sldMk cId="1488430594" sldId="257"/>
            <ac:picMk id="10268" creationId="{9258777E-0F64-4350-AD70-DBADF85E34E5}"/>
          </ac:picMkLst>
        </pc:picChg>
        <pc:picChg chg="add del mod">
          <ac:chgData name="Sebastian Kanz" userId="114b64f1-0b13-4d93-96eb-5adf208132be" providerId="ADAL" clId="{3E30DB6A-A7A2-4146-9D7B-AC756F054741}" dt="2019-10-16T09:25:24.095" v="956" actId="478"/>
          <ac:picMkLst>
            <pc:docMk/>
            <pc:sldMk cId="1488430594" sldId="257"/>
            <ac:picMk id="10270" creationId="{DD8862EE-2D79-47F0-B656-03B8A49AC9FC}"/>
          </ac:picMkLst>
        </pc:picChg>
        <pc:cxnChg chg="del mod topLvl">
          <ac:chgData name="Sebastian Kanz" userId="114b64f1-0b13-4d93-96eb-5adf208132be" providerId="ADAL" clId="{3E30DB6A-A7A2-4146-9D7B-AC756F054741}" dt="2019-10-16T12:05:06.235" v="2660" actId="478"/>
          <ac:cxnSpMkLst>
            <pc:docMk/>
            <pc:sldMk cId="1488430594" sldId="257"/>
            <ac:cxnSpMk id="22" creationId="{31622940-4A65-405E-8E5D-B3336CB0CEEB}"/>
          </ac:cxnSpMkLst>
        </pc:cxnChg>
        <pc:cxnChg chg="add del mod">
          <ac:chgData name="Sebastian Kanz" userId="114b64f1-0b13-4d93-96eb-5adf208132be" providerId="ADAL" clId="{3E30DB6A-A7A2-4146-9D7B-AC756F054741}" dt="2019-10-16T08:15:20.750" v="257" actId="478"/>
          <ac:cxnSpMkLst>
            <pc:docMk/>
            <pc:sldMk cId="1488430594" sldId="257"/>
            <ac:cxnSpMk id="42" creationId="{5A6046ED-C4A3-4FF9-8DF6-09876EB9ECB4}"/>
          </ac:cxnSpMkLst>
        </pc:cxnChg>
        <pc:cxnChg chg="add del mod">
          <ac:chgData name="Sebastian Kanz" userId="114b64f1-0b13-4d93-96eb-5adf208132be" providerId="ADAL" clId="{3E30DB6A-A7A2-4146-9D7B-AC756F054741}" dt="2019-10-16T08:16:08.987" v="263" actId="478"/>
          <ac:cxnSpMkLst>
            <pc:docMk/>
            <pc:sldMk cId="1488430594" sldId="257"/>
            <ac:cxnSpMk id="45" creationId="{2FFB402C-4D90-490D-9C51-7B672B94730D}"/>
          </ac:cxnSpMkLst>
        </pc:cxnChg>
        <pc:cxnChg chg="add del mod">
          <ac:chgData name="Sebastian Kanz" userId="114b64f1-0b13-4d93-96eb-5adf208132be" providerId="ADAL" clId="{3E30DB6A-A7A2-4146-9D7B-AC756F054741}" dt="2019-10-16T09:01:08.630" v="744" actId="478"/>
          <ac:cxnSpMkLst>
            <pc:docMk/>
            <pc:sldMk cId="1488430594" sldId="257"/>
            <ac:cxnSpMk id="49" creationId="{908A7B16-4112-434D-8242-B41C19EBEFCD}"/>
          </ac:cxnSpMkLst>
        </pc:cxnChg>
        <pc:cxnChg chg="add del mod">
          <ac:chgData name="Sebastian Kanz" userId="114b64f1-0b13-4d93-96eb-5adf208132be" providerId="ADAL" clId="{3E30DB6A-A7A2-4146-9D7B-AC756F054741}" dt="2019-10-16T08:22:04.455" v="327" actId="478"/>
          <ac:cxnSpMkLst>
            <pc:docMk/>
            <pc:sldMk cId="1488430594" sldId="257"/>
            <ac:cxnSpMk id="61" creationId="{FE496FDA-AC14-41C3-AFB5-F11887D7E7BB}"/>
          </ac:cxnSpMkLst>
        </pc:cxnChg>
        <pc:cxnChg chg="add del mod">
          <ac:chgData name="Sebastian Kanz" userId="114b64f1-0b13-4d93-96eb-5adf208132be" providerId="ADAL" clId="{3E30DB6A-A7A2-4146-9D7B-AC756F054741}" dt="2019-10-16T09:01:10.857" v="745" actId="478"/>
          <ac:cxnSpMkLst>
            <pc:docMk/>
            <pc:sldMk cId="1488430594" sldId="257"/>
            <ac:cxnSpMk id="67" creationId="{4AE43AED-88F9-42C6-A22A-EE7CC4BB17CA}"/>
          </ac:cxnSpMkLst>
        </pc:cxnChg>
        <pc:cxnChg chg="add del mod">
          <ac:chgData name="Sebastian Kanz" userId="114b64f1-0b13-4d93-96eb-5adf208132be" providerId="ADAL" clId="{3E30DB6A-A7A2-4146-9D7B-AC756F054741}" dt="2019-10-16T09:01:21.618" v="748" actId="478"/>
          <ac:cxnSpMkLst>
            <pc:docMk/>
            <pc:sldMk cId="1488430594" sldId="257"/>
            <ac:cxnSpMk id="70" creationId="{DAF5F53C-4F30-47B0-940D-45608F5B6F6A}"/>
          </ac:cxnSpMkLst>
        </pc:cxnChg>
        <pc:cxnChg chg="add mod">
          <ac:chgData name="Sebastian Kanz" userId="114b64f1-0b13-4d93-96eb-5adf208132be" providerId="ADAL" clId="{3E30DB6A-A7A2-4146-9D7B-AC756F054741}" dt="2019-10-16T12:04:20.974" v="2653" actId="14100"/>
          <ac:cxnSpMkLst>
            <pc:docMk/>
            <pc:sldMk cId="1488430594" sldId="257"/>
            <ac:cxnSpMk id="82" creationId="{34BE0279-60BD-4638-ABD5-3ACBAFEA5ADF}"/>
          </ac:cxnSpMkLst>
        </pc:cxnChg>
        <pc:cxnChg chg="add mod">
          <ac:chgData name="Sebastian Kanz" userId="114b64f1-0b13-4d93-96eb-5adf208132be" providerId="ADAL" clId="{3E30DB6A-A7A2-4146-9D7B-AC756F054741}" dt="2019-10-16T12:04:34.170" v="2655" actId="14100"/>
          <ac:cxnSpMkLst>
            <pc:docMk/>
            <pc:sldMk cId="1488430594" sldId="257"/>
            <ac:cxnSpMk id="83" creationId="{8EB955EB-4C20-4C8F-9ACA-7512B9E6473A}"/>
          </ac:cxnSpMkLst>
        </pc:cxnChg>
        <pc:cxnChg chg="add del mod">
          <ac:chgData name="Sebastian Kanz" userId="114b64f1-0b13-4d93-96eb-5adf208132be" providerId="ADAL" clId="{3E30DB6A-A7A2-4146-9D7B-AC756F054741}" dt="2019-10-16T09:08:14.520" v="828" actId="478"/>
          <ac:cxnSpMkLst>
            <pc:docMk/>
            <pc:sldMk cId="1488430594" sldId="257"/>
            <ac:cxnSpMk id="108" creationId="{1EC25D90-21B9-4C71-B67D-75D789A71D70}"/>
          </ac:cxnSpMkLst>
        </pc:cxnChg>
        <pc:cxnChg chg="add mod ord topLvl">
          <ac:chgData name="Sebastian Kanz" userId="114b64f1-0b13-4d93-96eb-5adf208132be" providerId="ADAL" clId="{3E30DB6A-A7A2-4146-9D7B-AC756F054741}" dt="2019-10-16T12:08:12.407" v="2725" actId="164"/>
          <ac:cxnSpMkLst>
            <pc:docMk/>
            <pc:sldMk cId="1488430594" sldId="257"/>
            <ac:cxnSpMk id="109" creationId="{7A076089-B725-469B-B8BF-F3541B2A59CA}"/>
          </ac:cxnSpMkLst>
        </pc:cxnChg>
        <pc:cxnChg chg="add del mod">
          <ac:chgData name="Sebastian Kanz" userId="114b64f1-0b13-4d93-96eb-5adf208132be" providerId="ADAL" clId="{3E30DB6A-A7A2-4146-9D7B-AC756F054741}" dt="2019-10-16T12:04:55.612" v="2658"/>
          <ac:cxnSpMkLst>
            <pc:docMk/>
            <pc:sldMk cId="1488430594" sldId="257"/>
            <ac:cxnSpMk id="112" creationId="{8898A767-6C8E-48BA-9A26-DBDB13A4D304}"/>
          </ac:cxnSpMkLst>
        </pc:cxnChg>
        <pc:cxnChg chg="add del mod">
          <ac:chgData name="Sebastian Kanz" userId="114b64f1-0b13-4d93-96eb-5adf208132be" providerId="ADAL" clId="{3E30DB6A-A7A2-4146-9D7B-AC756F054741}" dt="2019-10-16T11:52:54.331" v="2473" actId="478"/>
          <ac:cxnSpMkLst>
            <pc:docMk/>
            <pc:sldMk cId="1488430594" sldId="257"/>
            <ac:cxnSpMk id="116" creationId="{9D8E512C-2B6C-4CC1-B1B4-8127DBE09261}"/>
          </ac:cxnSpMkLst>
        </pc:cxnChg>
        <pc:cxnChg chg="add del mod">
          <ac:chgData name="Sebastian Kanz" userId="114b64f1-0b13-4d93-96eb-5adf208132be" providerId="ADAL" clId="{3E30DB6A-A7A2-4146-9D7B-AC756F054741}" dt="2019-10-16T12:08:04.058" v="2724" actId="478"/>
          <ac:cxnSpMkLst>
            <pc:docMk/>
            <pc:sldMk cId="1488430594" sldId="257"/>
            <ac:cxnSpMk id="117" creationId="{88960FC7-6332-4660-AC4B-5850A38F1810}"/>
          </ac:cxnSpMkLst>
        </pc:cxnChg>
        <pc:cxnChg chg="mod">
          <ac:chgData name="Sebastian Kanz" userId="114b64f1-0b13-4d93-96eb-5adf208132be" providerId="ADAL" clId="{3E30DB6A-A7A2-4146-9D7B-AC756F054741}" dt="2019-10-16T12:02:32.615" v="2630" actId="20577"/>
          <ac:cxnSpMkLst>
            <pc:docMk/>
            <pc:sldMk cId="1488430594" sldId="257"/>
            <ac:cxnSpMk id="196" creationId="{72122C6D-A069-4831-8937-959EF6A1B6E1}"/>
          </ac:cxnSpMkLst>
        </pc:cxnChg>
        <pc:cxnChg chg="mod">
          <ac:chgData name="Sebastian Kanz" userId="114b64f1-0b13-4d93-96eb-5adf208132be" providerId="ADAL" clId="{3E30DB6A-A7A2-4146-9D7B-AC756F054741}" dt="2019-10-16T12:02:32.615" v="2630" actId="20577"/>
          <ac:cxnSpMkLst>
            <pc:docMk/>
            <pc:sldMk cId="1488430594" sldId="257"/>
            <ac:cxnSpMk id="197" creationId="{8AD14DE4-B319-44FE-995F-64C18EC6F50F}"/>
          </ac:cxnSpMkLst>
        </pc:cxnChg>
        <pc:cxnChg chg="add mod ord">
          <ac:chgData name="Sebastian Kanz" userId="114b64f1-0b13-4d93-96eb-5adf208132be" providerId="ADAL" clId="{3E30DB6A-A7A2-4146-9D7B-AC756F054741}" dt="2019-10-16T12:08:12.407" v="2725" actId="164"/>
          <ac:cxnSpMkLst>
            <pc:docMk/>
            <pc:sldMk cId="1488430594" sldId="257"/>
            <ac:cxnSpMk id="215" creationId="{B51C71AC-B6D9-4E3D-A7FB-9C263BD8C2D6}"/>
          </ac:cxnSpMkLst>
        </pc:cxnChg>
      </pc:sldChg>
      <pc:sldChg chg="addSp delSp modSp add ord">
        <pc:chgData name="Sebastian Kanz" userId="114b64f1-0b13-4d93-96eb-5adf208132be" providerId="ADAL" clId="{3E30DB6A-A7A2-4146-9D7B-AC756F054741}" dt="2019-10-16T13:14:23.455" v="3084" actId="20577"/>
        <pc:sldMkLst>
          <pc:docMk/>
          <pc:sldMk cId="3481664085" sldId="258"/>
        </pc:sldMkLst>
        <pc:spChg chg="del">
          <ac:chgData name="Sebastian Kanz" userId="114b64f1-0b13-4d93-96eb-5adf208132be" providerId="ADAL" clId="{3E30DB6A-A7A2-4146-9D7B-AC756F054741}" dt="2019-10-16T08:47:31.111" v="498"/>
          <ac:spMkLst>
            <pc:docMk/>
            <pc:sldMk cId="3481664085" sldId="258"/>
            <ac:spMk id="2" creationId="{5A8B8E9C-2A73-4C62-BFD0-B0D2D040ECC2}"/>
          </ac:spMkLst>
        </pc:spChg>
        <pc:spChg chg="del">
          <ac:chgData name="Sebastian Kanz" userId="114b64f1-0b13-4d93-96eb-5adf208132be" providerId="ADAL" clId="{3E30DB6A-A7A2-4146-9D7B-AC756F054741}" dt="2019-10-16T08:47:31.111" v="498"/>
          <ac:spMkLst>
            <pc:docMk/>
            <pc:sldMk cId="3481664085" sldId="258"/>
            <ac:spMk id="3" creationId="{131AD7C9-1BCB-466D-8A65-9B960A707682}"/>
          </ac:spMkLst>
        </pc:spChg>
        <pc:spChg chg="del">
          <ac:chgData name="Sebastian Kanz" userId="114b64f1-0b13-4d93-96eb-5adf208132be" providerId="ADAL" clId="{3E30DB6A-A7A2-4146-9D7B-AC756F054741}" dt="2019-10-16T08:47:31.111" v="498"/>
          <ac:spMkLst>
            <pc:docMk/>
            <pc:sldMk cId="3481664085" sldId="258"/>
            <ac:spMk id="4" creationId="{243DA63C-E1CB-4560-A73D-AECBA0D0E2A0}"/>
          </ac:spMkLst>
        </pc:spChg>
        <pc:spChg chg="add mod">
          <ac:chgData name="Sebastian Kanz" userId="114b64f1-0b13-4d93-96eb-5adf208132be" providerId="ADAL" clId="{3E30DB6A-A7A2-4146-9D7B-AC756F054741}" dt="2019-10-16T08:47:33.420" v="503" actId="20577"/>
          <ac:spMkLst>
            <pc:docMk/>
            <pc:sldMk cId="3481664085" sldId="258"/>
            <ac:spMk id="5" creationId="{7BE40595-44D9-48AD-9D8D-9E30B2B1386B}"/>
          </ac:spMkLst>
        </pc:spChg>
        <pc:spChg chg="add mod">
          <ac:chgData name="Sebastian Kanz" userId="114b64f1-0b13-4d93-96eb-5adf208132be" providerId="ADAL" clId="{3E30DB6A-A7A2-4146-9D7B-AC756F054741}" dt="2019-10-16T13:14:23.455" v="3084" actId="20577"/>
          <ac:spMkLst>
            <pc:docMk/>
            <pc:sldMk cId="3481664085" sldId="258"/>
            <ac:spMk id="6" creationId="{BC1DA008-2409-439F-9EEB-1E561EDBA67B}"/>
          </ac:spMkLst>
        </pc:spChg>
        <pc:spChg chg="add mod">
          <ac:chgData name="Sebastian Kanz" userId="114b64f1-0b13-4d93-96eb-5adf208132be" providerId="ADAL" clId="{3E30DB6A-A7A2-4146-9D7B-AC756F054741}" dt="2019-10-16T09:34:14.180" v="1040" actId="20577"/>
          <ac:spMkLst>
            <pc:docMk/>
            <pc:sldMk cId="3481664085" sldId="258"/>
            <ac:spMk id="7" creationId="{EA482929-7B64-4804-B083-7CFFDC6B796B}"/>
          </ac:spMkLst>
        </pc:spChg>
      </pc:sldChg>
      <pc:sldChg chg="addSp delSp modSp add">
        <pc:chgData name="Sebastian Kanz" userId="114b64f1-0b13-4d93-96eb-5adf208132be" providerId="ADAL" clId="{3E30DB6A-A7A2-4146-9D7B-AC756F054741}" dt="2019-10-16T13:05:38.472" v="3082" actId="20577"/>
        <pc:sldMkLst>
          <pc:docMk/>
          <pc:sldMk cId="1980701250" sldId="259"/>
        </pc:sldMkLst>
        <pc:spChg chg="del">
          <ac:chgData name="Sebastian Kanz" userId="114b64f1-0b13-4d93-96eb-5adf208132be" providerId="ADAL" clId="{3E30DB6A-A7A2-4146-9D7B-AC756F054741}" dt="2019-10-16T08:49:04.696" v="578"/>
          <ac:spMkLst>
            <pc:docMk/>
            <pc:sldMk cId="1980701250" sldId="259"/>
            <ac:spMk id="2" creationId="{01B02513-479E-4C79-ABB3-4FB7DD85E704}"/>
          </ac:spMkLst>
        </pc:spChg>
        <pc:spChg chg="del">
          <ac:chgData name="Sebastian Kanz" userId="114b64f1-0b13-4d93-96eb-5adf208132be" providerId="ADAL" clId="{3E30DB6A-A7A2-4146-9D7B-AC756F054741}" dt="2019-10-16T08:49:04.696" v="578"/>
          <ac:spMkLst>
            <pc:docMk/>
            <pc:sldMk cId="1980701250" sldId="259"/>
            <ac:spMk id="3" creationId="{0ADC780F-6418-413D-9725-F58C3C567463}"/>
          </ac:spMkLst>
        </pc:spChg>
        <pc:spChg chg="del">
          <ac:chgData name="Sebastian Kanz" userId="114b64f1-0b13-4d93-96eb-5adf208132be" providerId="ADAL" clId="{3E30DB6A-A7A2-4146-9D7B-AC756F054741}" dt="2019-10-16T08:49:04.696" v="578"/>
          <ac:spMkLst>
            <pc:docMk/>
            <pc:sldMk cId="1980701250" sldId="259"/>
            <ac:spMk id="4" creationId="{3029E827-EB35-408B-9BDC-8CFF184D69DF}"/>
          </ac:spMkLst>
        </pc:spChg>
        <pc:spChg chg="add mod">
          <ac:chgData name="Sebastian Kanz" userId="114b64f1-0b13-4d93-96eb-5adf208132be" providerId="ADAL" clId="{3E30DB6A-A7A2-4146-9D7B-AC756F054741}" dt="2019-10-16T08:49:10.087" v="588" actId="20577"/>
          <ac:spMkLst>
            <pc:docMk/>
            <pc:sldMk cId="1980701250" sldId="259"/>
            <ac:spMk id="5" creationId="{C95EAA40-F85F-489E-8035-90129523A524}"/>
          </ac:spMkLst>
        </pc:spChg>
        <pc:spChg chg="add mod">
          <ac:chgData name="Sebastian Kanz" userId="114b64f1-0b13-4d93-96eb-5adf208132be" providerId="ADAL" clId="{3E30DB6A-A7A2-4146-9D7B-AC756F054741}" dt="2019-10-16T13:05:38.472" v="3082" actId="20577"/>
          <ac:spMkLst>
            <pc:docMk/>
            <pc:sldMk cId="1980701250" sldId="259"/>
            <ac:spMk id="6" creationId="{846E4D78-1640-4079-A0C1-ED7A709AFD8B}"/>
          </ac:spMkLst>
        </pc:spChg>
      </pc:sldChg>
      <pc:sldChg chg="addSp delSp modSp add">
        <pc:chgData name="Sebastian Kanz" userId="114b64f1-0b13-4d93-96eb-5adf208132be" providerId="ADAL" clId="{3E30DB6A-A7A2-4146-9D7B-AC756F054741}" dt="2019-10-16T13:03:15.300" v="2908" actId="6549"/>
        <pc:sldMkLst>
          <pc:docMk/>
          <pc:sldMk cId="1323260869" sldId="260"/>
        </pc:sldMkLst>
        <pc:spChg chg="add del mod">
          <ac:chgData name="Sebastian Kanz" userId="114b64f1-0b13-4d93-96eb-5adf208132be" providerId="ADAL" clId="{3E30DB6A-A7A2-4146-9D7B-AC756F054741}" dt="2019-10-16T09:27:30.147" v="982"/>
          <ac:spMkLst>
            <pc:docMk/>
            <pc:sldMk cId="1323260869" sldId="260"/>
            <ac:spMk id="2" creationId="{3608644E-5E33-4206-8F8C-50466DEDB903}"/>
          </ac:spMkLst>
        </pc:spChg>
        <pc:spChg chg="add del mod">
          <ac:chgData name="Sebastian Kanz" userId="114b64f1-0b13-4d93-96eb-5adf208132be" providerId="ADAL" clId="{3E30DB6A-A7A2-4146-9D7B-AC756F054741}" dt="2019-10-16T09:27:38.576" v="986"/>
          <ac:spMkLst>
            <pc:docMk/>
            <pc:sldMk cId="1323260869" sldId="260"/>
            <ac:spMk id="7" creationId="{4D87917D-F076-4397-BFCF-8C8C782FB212}"/>
          </ac:spMkLst>
        </pc:spChg>
        <pc:spChg chg="add mod">
          <ac:chgData name="Sebastian Kanz" userId="114b64f1-0b13-4d93-96eb-5adf208132be" providerId="ADAL" clId="{3E30DB6A-A7A2-4146-9D7B-AC756F054741}" dt="2019-10-16T09:30:42.848" v="998" actId="1076"/>
          <ac:spMkLst>
            <pc:docMk/>
            <pc:sldMk cId="1323260869" sldId="260"/>
            <ac:spMk id="10" creationId="{EE2774E6-FE34-4DA5-A530-CD75499A56E0}"/>
          </ac:spMkLst>
        </pc:spChg>
        <pc:spChg chg="mod">
          <ac:chgData name="Sebastian Kanz" userId="114b64f1-0b13-4d93-96eb-5adf208132be" providerId="ADAL" clId="{3E30DB6A-A7A2-4146-9D7B-AC756F054741}" dt="2019-10-16T13:03:15.300" v="2908" actId="6549"/>
          <ac:spMkLst>
            <pc:docMk/>
            <pc:sldMk cId="1323260869" sldId="260"/>
            <ac:spMk id="11" creationId="{D307D9F7-E128-4A6B-9808-5DD0FE27B148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12" creationId="{3E0C25D6-42AF-4C87-8C7E-3CD24777E374}"/>
          </ac:spMkLst>
        </pc:spChg>
        <pc:spChg chg="add mod">
          <ac:chgData name="Sebastian Kanz" userId="114b64f1-0b13-4d93-96eb-5adf208132be" providerId="ADAL" clId="{3E30DB6A-A7A2-4146-9D7B-AC756F054741}" dt="2019-10-16T12:09:13.326" v="2791" actId="1037"/>
          <ac:spMkLst>
            <pc:docMk/>
            <pc:sldMk cId="1323260869" sldId="260"/>
            <ac:spMk id="13" creationId="{6A391621-C9A5-4433-8BCD-14BE8D499D1A}"/>
          </ac:spMkLst>
        </pc:spChg>
        <pc:spChg chg="add mod">
          <ac:chgData name="Sebastian Kanz" userId="114b64f1-0b13-4d93-96eb-5adf208132be" providerId="ADAL" clId="{3E30DB6A-A7A2-4146-9D7B-AC756F054741}" dt="2019-10-16T12:07:51.506" v="2723" actId="14100"/>
          <ac:spMkLst>
            <pc:docMk/>
            <pc:sldMk cId="1323260869" sldId="260"/>
            <ac:spMk id="15" creationId="{ED0A9F8B-A111-4008-A3B6-BE56CF6E177E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17" creationId="{183E4B85-1FDF-4509-8AA3-89B162E0C16B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18" creationId="{848EEFC1-6E2D-4536-BF1E-230F7D060476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23" creationId="{4E58F404-C5BA-40BB-9567-74A1710D33DC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24" creationId="{19040D49-95F3-4DA6-85F4-8733069770E2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31" creationId="{FDB21786-36CD-4CD5-8AAC-7ADB8ABB9289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32" creationId="{0BC19F32-7AC1-4BF0-AB14-C8962E88D537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37" creationId="{ADAB1DE6-652D-45D4-B68E-3C8E36DE1E1C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41" creationId="{D3ED09A5-7137-4C14-8A40-8D287035DB0B}"/>
          </ac:spMkLst>
        </pc:spChg>
        <pc:spChg chg="add del">
          <ac:chgData name="Sebastian Kanz" userId="114b64f1-0b13-4d93-96eb-5adf208132be" providerId="ADAL" clId="{3E30DB6A-A7A2-4146-9D7B-AC756F054741}" dt="2019-10-16T08:52:32.036" v="626" actId="478"/>
          <ac:spMkLst>
            <pc:docMk/>
            <pc:sldMk cId="1323260869" sldId="260"/>
            <ac:spMk id="50" creationId="{E43B757F-BFEF-43C7-A980-FCD85E50008B}"/>
          </ac:spMkLst>
        </pc:spChg>
        <pc:spChg chg="del mod">
          <ac:chgData name="Sebastian Kanz" userId="114b64f1-0b13-4d93-96eb-5adf208132be" providerId="ADAL" clId="{3E30DB6A-A7A2-4146-9D7B-AC756F054741}" dt="2019-10-16T08:50:20.046" v="594" actId="478"/>
          <ac:spMkLst>
            <pc:docMk/>
            <pc:sldMk cId="1323260869" sldId="260"/>
            <ac:spMk id="80" creationId="{30DE2C61-5256-4804-AA3C-F0D2E85A38CB}"/>
          </ac:spMkLst>
        </pc:spChg>
        <pc:spChg chg="add mod">
          <ac:chgData name="Sebastian Kanz" userId="114b64f1-0b13-4d93-96eb-5adf208132be" providerId="ADAL" clId="{3E30DB6A-A7A2-4146-9D7B-AC756F054741}" dt="2019-10-16T09:32:29.038" v="1020" actId="1076"/>
          <ac:spMkLst>
            <pc:docMk/>
            <pc:sldMk cId="1323260869" sldId="260"/>
            <ac:spMk id="108" creationId="{46246AE7-3E0B-4519-8EB0-352008002261}"/>
          </ac:spMkLst>
        </pc:spChg>
        <pc:spChg chg="add mod">
          <ac:chgData name="Sebastian Kanz" userId="114b64f1-0b13-4d93-96eb-5adf208132be" providerId="ADAL" clId="{3E30DB6A-A7A2-4146-9D7B-AC756F054741}" dt="2019-10-16T09:32:34.150" v="1021" actId="1076"/>
          <ac:spMkLst>
            <pc:docMk/>
            <pc:sldMk cId="1323260869" sldId="260"/>
            <ac:spMk id="109" creationId="{A60A8344-E8C6-4E56-82C1-7DE83FD19A59}"/>
          </ac:spMkLst>
        </pc:spChg>
        <pc:spChg chg="add mod">
          <ac:chgData name="Sebastian Kanz" userId="114b64f1-0b13-4d93-96eb-5adf208132be" providerId="ADAL" clId="{3E30DB6A-A7A2-4146-9D7B-AC756F054741}" dt="2019-10-16T09:32:19.225" v="1019" actId="1076"/>
          <ac:spMkLst>
            <pc:docMk/>
            <pc:sldMk cId="1323260869" sldId="260"/>
            <ac:spMk id="110" creationId="{1C7C1235-8923-4511-9EE2-84F6F5FA3469}"/>
          </ac:spMkLst>
        </pc:spChg>
        <pc:spChg chg="add del mod">
          <ac:chgData name="Sebastian Kanz" userId="114b64f1-0b13-4d93-96eb-5adf208132be" providerId="ADAL" clId="{3E30DB6A-A7A2-4146-9D7B-AC756F054741}" dt="2019-10-16T12:06:18.083" v="2707" actId="478"/>
          <ac:spMkLst>
            <pc:docMk/>
            <pc:sldMk cId="1323260869" sldId="260"/>
            <ac:spMk id="111" creationId="{EFAEFBA9-50E5-44B1-9BC2-53CB96EE6AEB}"/>
          </ac:spMkLst>
        </pc:spChg>
        <pc:spChg chg="add del mod">
          <ac:chgData name="Sebastian Kanz" userId="114b64f1-0b13-4d93-96eb-5adf208132be" providerId="ADAL" clId="{3E30DB6A-A7A2-4146-9D7B-AC756F054741}" dt="2019-10-16T09:32:02.542" v="1016" actId="478"/>
          <ac:spMkLst>
            <pc:docMk/>
            <pc:sldMk cId="1323260869" sldId="260"/>
            <ac:spMk id="112" creationId="{9DFBD41E-EFDA-4A58-BEC9-B248D0F26017}"/>
          </ac:spMkLst>
        </pc:spChg>
        <pc:spChg chg="add mod">
          <ac:chgData name="Sebastian Kanz" userId="114b64f1-0b13-4d93-96eb-5adf208132be" providerId="ADAL" clId="{3E30DB6A-A7A2-4146-9D7B-AC756F054741}" dt="2019-10-16T09:32:58.039" v="1025" actId="1076"/>
          <ac:spMkLst>
            <pc:docMk/>
            <pc:sldMk cId="1323260869" sldId="260"/>
            <ac:spMk id="113" creationId="{6234DE98-1FED-4FA1-B37B-630776E78C43}"/>
          </ac:spMkLst>
        </pc:spChg>
        <pc:grpChg chg="add del mod">
          <ac:chgData name="Sebastian Kanz" userId="114b64f1-0b13-4d93-96eb-5adf208132be" providerId="ADAL" clId="{3E30DB6A-A7A2-4146-9D7B-AC756F054741}" dt="2019-10-16T09:27:35.102" v="984" actId="478"/>
          <ac:grpSpMkLst>
            <pc:docMk/>
            <pc:sldMk cId="1323260869" sldId="260"/>
            <ac:grpSpMk id="45" creationId="{06139C4E-6AD4-472B-B8DD-CE03621518A0}"/>
          </ac:grpSpMkLst>
        </pc:grpChg>
        <pc:grpChg chg="mod">
          <ac:chgData name="Sebastian Kanz" userId="114b64f1-0b13-4d93-96eb-5adf208132be" providerId="ADAL" clId="{3E30DB6A-A7A2-4146-9D7B-AC756F054741}" dt="2019-10-16T09:27:34.213" v="983" actId="1076"/>
          <ac:grpSpMkLst>
            <pc:docMk/>
            <pc:sldMk cId="1323260869" sldId="260"/>
            <ac:grpSpMk id="48" creationId="{57C2F416-B5BA-424F-9F85-1DE44E1A6582}"/>
          </ac:grpSpMkLst>
        </pc:grpChg>
        <pc:grpChg chg="add del">
          <ac:chgData name="Sebastian Kanz" userId="114b64f1-0b13-4d93-96eb-5adf208132be" providerId="ADAL" clId="{3E30DB6A-A7A2-4146-9D7B-AC756F054741}" dt="2019-10-16T08:52:32.036" v="626" actId="478"/>
          <ac:grpSpMkLst>
            <pc:docMk/>
            <pc:sldMk cId="1323260869" sldId="260"/>
            <ac:grpSpMk id="57" creationId="{A939367E-82E2-4DA8-B415-5BF0489EBD97}"/>
          </ac:grpSpMkLst>
        </pc:grpChg>
        <pc:grpChg chg="mod">
          <ac:chgData name="Sebastian Kanz" userId="114b64f1-0b13-4d93-96eb-5adf208132be" providerId="ADAL" clId="{3E30DB6A-A7A2-4146-9D7B-AC756F054741}" dt="2019-10-16T09:27:34.213" v="983" actId="1076"/>
          <ac:grpSpMkLst>
            <pc:docMk/>
            <pc:sldMk cId="1323260869" sldId="260"/>
            <ac:grpSpMk id="58" creationId="{C7B1E686-52DC-4CA4-94F4-16DBF3706476}"/>
          </ac:grpSpMkLst>
        </pc:grpChg>
        <pc:grpChg chg="mod">
          <ac:chgData name="Sebastian Kanz" userId="114b64f1-0b13-4d93-96eb-5adf208132be" providerId="ADAL" clId="{3E30DB6A-A7A2-4146-9D7B-AC756F054741}" dt="2019-10-16T09:27:34.213" v="983" actId="1076"/>
          <ac:grpSpMkLst>
            <pc:docMk/>
            <pc:sldMk cId="1323260869" sldId="260"/>
            <ac:grpSpMk id="59" creationId="{256559D9-622D-4FED-97DF-929DD190F9A2}"/>
          </ac:grpSpMkLst>
        </pc:grpChg>
        <pc:grpChg chg="mod">
          <ac:chgData name="Sebastian Kanz" userId="114b64f1-0b13-4d93-96eb-5adf208132be" providerId="ADAL" clId="{3E30DB6A-A7A2-4146-9D7B-AC756F054741}" dt="2019-10-16T09:27:34.213" v="983" actId="1076"/>
          <ac:grpSpMkLst>
            <pc:docMk/>
            <pc:sldMk cId="1323260869" sldId="260"/>
            <ac:grpSpMk id="60" creationId="{2F003035-D1B8-4EC8-B59D-1BC515AD7B87}"/>
          </ac:grpSpMkLst>
        </pc:grpChg>
        <pc:grpChg chg="del">
          <ac:chgData name="Sebastian Kanz" userId="114b64f1-0b13-4d93-96eb-5adf208132be" providerId="ADAL" clId="{3E30DB6A-A7A2-4146-9D7B-AC756F054741}" dt="2019-10-16T08:50:23.176" v="595" actId="478"/>
          <ac:grpSpMkLst>
            <pc:docMk/>
            <pc:sldMk cId="1323260869" sldId="260"/>
            <ac:grpSpMk id="87" creationId="{400F14B4-C9AE-4B43-AEA9-135D854BA0FE}"/>
          </ac:grpSpMkLst>
        </pc:grpChg>
        <pc:grpChg chg="mod">
          <ac:chgData name="Sebastian Kanz" userId="114b64f1-0b13-4d93-96eb-5adf208132be" providerId="ADAL" clId="{3E30DB6A-A7A2-4146-9D7B-AC756F054741}" dt="2019-10-16T09:27:34.213" v="983" actId="1076"/>
          <ac:grpSpMkLst>
            <pc:docMk/>
            <pc:sldMk cId="1323260869" sldId="260"/>
            <ac:grpSpMk id="92" creationId="{540461BA-322C-4973-A4D1-7826702FAE3A}"/>
          </ac:grpSpMkLst>
        </pc:grpChg>
        <pc:grpChg chg="mod">
          <ac:chgData name="Sebastian Kanz" userId="114b64f1-0b13-4d93-96eb-5adf208132be" providerId="ADAL" clId="{3E30DB6A-A7A2-4146-9D7B-AC756F054741}" dt="2019-10-16T09:27:34.213" v="983" actId="1076"/>
          <ac:grpSpMkLst>
            <pc:docMk/>
            <pc:sldMk cId="1323260869" sldId="260"/>
            <ac:grpSpMk id="93" creationId="{AC9D24BE-CE5F-49F9-BE32-88DABF0B0411}"/>
          </ac:grpSpMkLst>
        </pc:grpChg>
        <pc:picChg chg="add del mod">
          <ac:chgData name="Sebastian Kanz" userId="114b64f1-0b13-4d93-96eb-5adf208132be" providerId="ADAL" clId="{3E30DB6A-A7A2-4146-9D7B-AC756F054741}" dt="2019-10-16T09:27:37.440" v="985"/>
          <ac:picMkLst>
            <pc:docMk/>
            <pc:sldMk cId="1323260869" sldId="260"/>
            <ac:picMk id="6" creationId="{4BBD445F-E67B-4E94-A1FC-124323F76DA1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8" creationId="{92C2EA3F-0429-43B7-BE9B-4D75B07599F6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14" creationId="{D1C9C951-BFEB-4CD7-8A97-4952C6218AE7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16" creationId="{5C148625-9798-4CD3-B4E4-1386F4A65514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20" creationId="{12D50E3B-6B2D-4F74-BDB8-2CB3FBD5367D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26" creationId="{1A99588F-4450-46ED-9DBC-5BFA8ED0F127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27" creationId="{0CFED3FD-48FD-4265-8CB0-685CF122A8FC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28" creationId="{6958BBD9-E5E2-43C2-9C41-1591D20F08CC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30" creationId="{138AE2DB-77F5-4EAE-B8E1-4C7521EA1FA2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34" creationId="{85E14CCD-5580-4170-AF33-0F5B89CF8D2A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35" creationId="{C6028984-2E87-44EC-A9E4-9A6A148FF898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36" creationId="{C84F09A8-2A69-4034-8245-027AC8914982}"/>
          </ac:picMkLst>
        </pc:picChg>
        <pc:picChg chg="add del">
          <ac:chgData name="Sebastian Kanz" userId="114b64f1-0b13-4d93-96eb-5adf208132be" providerId="ADAL" clId="{3E30DB6A-A7A2-4146-9D7B-AC756F054741}" dt="2019-10-16T08:52:32.036" v="626" actId="478"/>
          <ac:picMkLst>
            <pc:docMk/>
            <pc:sldMk cId="1323260869" sldId="260"/>
            <ac:picMk id="39" creationId="{6D7C4A72-7EFF-4645-B867-2C6DF21EFB1D}"/>
          </ac:picMkLst>
        </pc:picChg>
        <pc:picChg chg="add mod">
          <ac:chgData name="Sebastian Kanz" userId="114b64f1-0b13-4d93-96eb-5adf208132be" providerId="ADAL" clId="{3E30DB6A-A7A2-4146-9D7B-AC756F054741}" dt="2019-10-16T12:08:31.560" v="2726" actId="14826"/>
          <ac:picMkLst>
            <pc:docMk/>
            <pc:sldMk cId="1323260869" sldId="260"/>
            <ac:picMk id="107" creationId="{7D043F0F-04DE-41E1-8B3A-46240B18F7E8}"/>
          </ac:picMkLst>
        </pc:picChg>
        <pc:cxnChg chg="add del">
          <ac:chgData name="Sebastian Kanz" userId="114b64f1-0b13-4d93-96eb-5adf208132be" providerId="ADAL" clId="{3E30DB6A-A7A2-4146-9D7B-AC756F054741}" dt="2019-10-16T08:52:32.036" v="626" actId="478"/>
          <ac:cxnSpMkLst>
            <pc:docMk/>
            <pc:sldMk cId="1323260869" sldId="260"/>
            <ac:cxnSpMk id="22" creationId="{31622940-4A65-405E-8E5D-B3336CB0CEEB}"/>
          </ac:cxnSpMkLst>
        </pc:cxnChg>
        <pc:cxnChg chg="add del mod">
          <ac:chgData name="Sebastian Kanz" userId="114b64f1-0b13-4d93-96eb-5adf208132be" providerId="ADAL" clId="{3E30DB6A-A7A2-4146-9D7B-AC756F054741}" dt="2019-10-16T08:52:32.036" v="626" actId="478"/>
          <ac:cxnSpMkLst>
            <pc:docMk/>
            <pc:sldMk cId="1323260869" sldId="260"/>
            <ac:cxnSpMk id="49" creationId="{908A7B16-4112-434D-8242-B41C19EBEFCD}"/>
          </ac:cxnSpMkLst>
        </pc:cxnChg>
        <pc:cxnChg chg="add del mod">
          <ac:chgData name="Sebastian Kanz" userId="114b64f1-0b13-4d93-96eb-5adf208132be" providerId="ADAL" clId="{3E30DB6A-A7A2-4146-9D7B-AC756F054741}" dt="2019-10-16T08:52:32.036" v="626" actId="478"/>
          <ac:cxnSpMkLst>
            <pc:docMk/>
            <pc:sldMk cId="1323260869" sldId="260"/>
            <ac:cxnSpMk id="67" creationId="{4AE43AED-88F9-42C6-A22A-EE7CC4BB17CA}"/>
          </ac:cxnSpMkLst>
        </pc:cxnChg>
        <pc:cxnChg chg="add del mod">
          <ac:chgData name="Sebastian Kanz" userId="114b64f1-0b13-4d93-96eb-5adf208132be" providerId="ADAL" clId="{3E30DB6A-A7A2-4146-9D7B-AC756F054741}" dt="2019-10-16T08:52:32.036" v="626" actId="478"/>
          <ac:cxnSpMkLst>
            <pc:docMk/>
            <pc:sldMk cId="1323260869" sldId="260"/>
            <ac:cxnSpMk id="70" creationId="{DAF5F53C-4F30-47B0-940D-45608F5B6F6A}"/>
          </ac:cxnSpMkLst>
        </pc:cxnChg>
        <pc:cxnChg chg="mod">
          <ac:chgData name="Sebastian Kanz" userId="114b64f1-0b13-4d93-96eb-5adf208132be" providerId="ADAL" clId="{3E30DB6A-A7A2-4146-9D7B-AC756F054741}" dt="2019-10-16T08:50:23.176" v="595" actId="478"/>
          <ac:cxnSpMkLst>
            <pc:docMk/>
            <pc:sldMk cId="1323260869" sldId="260"/>
            <ac:cxnSpMk id="82" creationId="{34BE0279-60BD-4638-ABD5-3ACBAFEA5ADF}"/>
          </ac:cxnSpMkLst>
        </pc:cxnChg>
        <pc:cxnChg chg="mod">
          <ac:chgData name="Sebastian Kanz" userId="114b64f1-0b13-4d93-96eb-5adf208132be" providerId="ADAL" clId="{3E30DB6A-A7A2-4146-9D7B-AC756F054741}" dt="2019-10-16T08:50:23.176" v="595" actId="478"/>
          <ac:cxnSpMkLst>
            <pc:docMk/>
            <pc:sldMk cId="1323260869" sldId="260"/>
            <ac:cxnSpMk id="83" creationId="{8EB955EB-4C20-4C8F-9ACA-7512B9E6473A}"/>
          </ac:cxnSpMkLst>
        </pc:cxnChg>
      </pc:sldChg>
      <pc:sldChg chg="addSp delSp modSp add">
        <pc:chgData name="Sebastian Kanz" userId="114b64f1-0b13-4d93-96eb-5adf208132be" providerId="ADAL" clId="{3E30DB6A-A7A2-4146-9D7B-AC756F054741}" dt="2019-10-16T13:16:35.150" v="3088" actId="20577"/>
        <pc:sldMkLst>
          <pc:docMk/>
          <pc:sldMk cId="734205492" sldId="261"/>
        </pc:sldMkLst>
        <pc:spChg chg="del">
          <ac:chgData name="Sebastian Kanz" userId="114b64f1-0b13-4d93-96eb-5adf208132be" providerId="ADAL" clId="{3E30DB6A-A7A2-4146-9D7B-AC756F054741}" dt="2019-10-16T11:23:44.933" v="1681"/>
          <ac:spMkLst>
            <pc:docMk/>
            <pc:sldMk cId="734205492" sldId="261"/>
            <ac:spMk id="2" creationId="{5E4060F4-8655-446A-93E4-514041C4349E}"/>
          </ac:spMkLst>
        </pc:spChg>
        <pc:spChg chg="del">
          <ac:chgData name="Sebastian Kanz" userId="114b64f1-0b13-4d93-96eb-5adf208132be" providerId="ADAL" clId="{3E30DB6A-A7A2-4146-9D7B-AC756F054741}" dt="2019-10-16T11:23:44.933" v="1681"/>
          <ac:spMkLst>
            <pc:docMk/>
            <pc:sldMk cId="734205492" sldId="261"/>
            <ac:spMk id="3" creationId="{8C04A494-7A6B-448A-A563-671687476249}"/>
          </ac:spMkLst>
        </pc:spChg>
        <pc:spChg chg="del">
          <ac:chgData name="Sebastian Kanz" userId="114b64f1-0b13-4d93-96eb-5adf208132be" providerId="ADAL" clId="{3E30DB6A-A7A2-4146-9D7B-AC756F054741}" dt="2019-10-16T11:23:44.933" v="1681"/>
          <ac:spMkLst>
            <pc:docMk/>
            <pc:sldMk cId="734205492" sldId="261"/>
            <ac:spMk id="4" creationId="{3B69BA99-633E-4CFF-8852-00C3A2AF51EE}"/>
          </ac:spMkLst>
        </pc:spChg>
        <pc:spChg chg="add mod">
          <ac:chgData name="Sebastian Kanz" userId="114b64f1-0b13-4d93-96eb-5adf208132be" providerId="ADAL" clId="{3E30DB6A-A7A2-4146-9D7B-AC756F054741}" dt="2019-10-16T11:25:28.643" v="1736" actId="20577"/>
          <ac:spMkLst>
            <pc:docMk/>
            <pc:sldMk cId="734205492" sldId="261"/>
            <ac:spMk id="5" creationId="{A0B3D837-D28D-4E30-BE95-51CAC97F91A0}"/>
          </ac:spMkLst>
        </pc:spChg>
        <pc:spChg chg="add mod">
          <ac:chgData name="Sebastian Kanz" userId="114b64f1-0b13-4d93-96eb-5adf208132be" providerId="ADAL" clId="{3E30DB6A-A7A2-4146-9D7B-AC756F054741}" dt="2019-10-16T13:16:35.150" v="3088" actId="20577"/>
          <ac:spMkLst>
            <pc:docMk/>
            <pc:sldMk cId="734205492" sldId="261"/>
            <ac:spMk id="6" creationId="{6943F5E1-9EB7-4EA2-AB13-E1A27887BAA1}"/>
          </ac:spMkLst>
        </pc:spChg>
        <pc:spChg chg="add del mod">
          <ac:chgData name="Sebastian Kanz" userId="114b64f1-0b13-4d93-96eb-5adf208132be" providerId="ADAL" clId="{3E30DB6A-A7A2-4146-9D7B-AC756F054741}" dt="2019-10-16T11:43:03.511" v="2458"/>
          <ac:spMkLst>
            <pc:docMk/>
            <pc:sldMk cId="734205492" sldId="261"/>
            <ac:spMk id="7" creationId="{2887B65E-F72D-46EB-9DB0-8E0303E4BE3F}"/>
          </ac:spMkLst>
        </pc:spChg>
      </pc:sldChg>
      <pc:sldChg chg="addSp delSp add del">
        <pc:chgData name="Sebastian Kanz" userId="114b64f1-0b13-4d93-96eb-5adf208132be" providerId="ADAL" clId="{3E30DB6A-A7A2-4146-9D7B-AC756F054741}" dt="2019-10-16T09:37:50.431" v="1159" actId="2696"/>
        <pc:sldMkLst>
          <pc:docMk/>
          <pc:sldMk cId="3479113038" sldId="261"/>
        </pc:sldMkLst>
        <pc:spChg chg="del">
          <ac:chgData name="Sebastian Kanz" userId="114b64f1-0b13-4d93-96eb-5adf208132be" providerId="ADAL" clId="{3E30DB6A-A7A2-4146-9D7B-AC756F054741}" dt="2019-10-16T08:52:49.110" v="643" actId="478"/>
          <ac:spMkLst>
            <pc:docMk/>
            <pc:sldMk cId="3479113038" sldId="261"/>
            <ac:spMk id="3" creationId="{D242A97A-D92E-4703-85A2-AF2B02F16F0C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4" creationId="{DECA26E5-DCCF-4194-82D6-5B788A974C5D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5" creationId="{81175957-28D0-4E27-89D7-B95CC1F52687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7" creationId="{7804E528-A7EB-4D88-88F2-70B297E30180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8" creationId="{EF1745EC-7754-45A2-849E-BAA4455AAF5A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13" creationId="{C488B3FA-AD4E-4645-B545-4A1DDD76A596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18" creationId="{EF52D1B6-29EC-48DC-A970-568E04EA0CEE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19" creationId="{D4A8875C-BEDF-4446-B2FD-AFF961223693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23" creationId="{0D803C1D-12F1-441E-B995-A8E2CD3E3BE8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24" creationId="{550DB275-8B32-4F7E-8DA4-03F25B474C8D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27" creationId="{1C41E5C4-6D72-4CE6-867D-4A940CDDEB63}"/>
          </ac:spMkLst>
        </pc:spChg>
        <pc:spChg chg="add">
          <ac:chgData name="Sebastian Kanz" userId="114b64f1-0b13-4d93-96eb-5adf208132be" providerId="ADAL" clId="{3E30DB6A-A7A2-4146-9D7B-AC756F054741}" dt="2019-10-16T08:52:49.773" v="644"/>
          <ac:spMkLst>
            <pc:docMk/>
            <pc:sldMk cId="3479113038" sldId="261"/>
            <ac:spMk id="37" creationId="{24F4225C-1173-4BB2-9538-58C4B723CA60}"/>
          </ac:spMkLst>
        </pc:spChg>
        <pc:grpChg chg="add">
          <ac:chgData name="Sebastian Kanz" userId="114b64f1-0b13-4d93-96eb-5adf208132be" providerId="ADAL" clId="{3E30DB6A-A7A2-4146-9D7B-AC756F054741}" dt="2019-10-16T08:52:49.773" v="644"/>
          <ac:grpSpMkLst>
            <pc:docMk/>
            <pc:sldMk cId="3479113038" sldId="261"/>
            <ac:grpSpMk id="28" creationId="{B38FCC8D-83C4-43E8-A9CE-8D70B993EB7F}"/>
          </ac:grpSpMkLst>
        </pc:grpChg>
        <pc:grpChg chg="add">
          <ac:chgData name="Sebastian Kanz" userId="114b64f1-0b13-4d93-96eb-5adf208132be" providerId="ADAL" clId="{3E30DB6A-A7A2-4146-9D7B-AC756F054741}" dt="2019-10-16T08:52:49.773" v="644"/>
          <ac:grpSpMkLst>
            <pc:docMk/>
            <pc:sldMk cId="3479113038" sldId="261"/>
            <ac:grpSpMk id="38" creationId="{C90D2128-F5CC-4DED-903B-F49E4FE9DDE5}"/>
          </ac:grpSpMkLst>
        </pc:grp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6" creationId="{B6B6C875-0149-4E7B-A517-08EEB4EB03D8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9" creationId="{C72895DE-5DB9-4381-818E-2EC4F5321637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10" creationId="{0993932A-1BA1-46D9-9C9D-DD9178FE94E8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11" creationId="{2D473E9F-3229-4B0C-8599-32EB4F41B181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14" creationId="{2CBD847A-72BF-4A4E-B0C1-E060F375A7FF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15" creationId="{761224D3-5100-478B-8EE3-25B1D44846C2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16" creationId="{5ED5DC76-972B-413C-A44C-8DBA1B0A0931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17" creationId="{FB62C2A9-09BE-4564-80E0-B269DB328E7C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20" creationId="{0D84AFA9-B64C-418D-BDD8-0FB6C9DD7E4F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21" creationId="{FD9ABC6C-4552-47CE-8BC8-2D1AA2161134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22" creationId="{423A0390-F22D-456A-B1D5-5FF87ECD2D84}"/>
          </ac:picMkLst>
        </pc:picChg>
        <pc:picChg chg="add">
          <ac:chgData name="Sebastian Kanz" userId="114b64f1-0b13-4d93-96eb-5adf208132be" providerId="ADAL" clId="{3E30DB6A-A7A2-4146-9D7B-AC756F054741}" dt="2019-10-16T08:52:49.773" v="644"/>
          <ac:picMkLst>
            <pc:docMk/>
            <pc:sldMk cId="3479113038" sldId="261"/>
            <ac:picMk id="26" creationId="{B8DDA95D-B5EA-4060-8807-6805950E4926}"/>
          </ac:picMkLst>
        </pc:picChg>
        <pc:cxnChg chg="add">
          <ac:chgData name="Sebastian Kanz" userId="114b64f1-0b13-4d93-96eb-5adf208132be" providerId="ADAL" clId="{3E30DB6A-A7A2-4146-9D7B-AC756F054741}" dt="2019-10-16T08:52:49.773" v="644"/>
          <ac:cxnSpMkLst>
            <pc:docMk/>
            <pc:sldMk cId="3479113038" sldId="261"/>
            <ac:cxnSpMk id="12" creationId="{17C0AA42-E927-4062-9385-82621B0FBA31}"/>
          </ac:cxnSpMkLst>
        </pc:cxnChg>
        <pc:cxnChg chg="add">
          <ac:chgData name="Sebastian Kanz" userId="114b64f1-0b13-4d93-96eb-5adf208132be" providerId="ADAL" clId="{3E30DB6A-A7A2-4146-9D7B-AC756F054741}" dt="2019-10-16T08:52:49.773" v="644"/>
          <ac:cxnSpMkLst>
            <pc:docMk/>
            <pc:sldMk cId="3479113038" sldId="261"/>
            <ac:cxnSpMk id="25" creationId="{13206DBA-691B-4D6C-82A1-CA7182632D09}"/>
          </ac:cxnSpMkLst>
        </pc:cxnChg>
        <pc:cxnChg chg="add">
          <ac:chgData name="Sebastian Kanz" userId="114b64f1-0b13-4d93-96eb-5adf208132be" providerId="ADAL" clId="{3E30DB6A-A7A2-4146-9D7B-AC756F054741}" dt="2019-10-16T08:52:49.773" v="644"/>
          <ac:cxnSpMkLst>
            <pc:docMk/>
            <pc:sldMk cId="3479113038" sldId="261"/>
            <ac:cxnSpMk id="35" creationId="{242FF418-DEDA-4FEE-B8F1-7B323D703FBA}"/>
          </ac:cxnSpMkLst>
        </pc:cxnChg>
        <pc:cxnChg chg="add">
          <ac:chgData name="Sebastian Kanz" userId="114b64f1-0b13-4d93-96eb-5adf208132be" providerId="ADAL" clId="{3E30DB6A-A7A2-4146-9D7B-AC756F054741}" dt="2019-10-16T08:52:49.773" v="644"/>
          <ac:cxnSpMkLst>
            <pc:docMk/>
            <pc:sldMk cId="3479113038" sldId="261"/>
            <ac:cxnSpMk id="36" creationId="{89013A11-273E-4EEA-BEBC-B4483B5909A9}"/>
          </ac:cxnSpMkLst>
        </pc:cxnChg>
      </pc:sldChg>
      <pc:sldChg chg="addSp delSp modSp add del">
        <pc:chgData name="Sebastian Kanz" userId="114b64f1-0b13-4d93-96eb-5adf208132be" providerId="ADAL" clId="{3E30DB6A-A7A2-4146-9D7B-AC756F054741}" dt="2019-10-16T12:05:52.767" v="2691" actId="2696"/>
        <pc:sldMkLst>
          <pc:docMk/>
          <pc:sldMk cId="2359862643" sldId="262"/>
        </pc:sldMkLst>
        <pc:spChg chg="mod topLvl">
          <ac:chgData name="Sebastian Kanz" userId="114b64f1-0b13-4d93-96eb-5adf208132be" providerId="ADAL" clId="{3E30DB6A-A7A2-4146-9D7B-AC756F054741}" dt="2019-10-16T11:59:07.985" v="2554" actId="164"/>
          <ac:spMkLst>
            <pc:docMk/>
            <pc:sldMk cId="2359862643" sldId="262"/>
            <ac:spMk id="7" creationId="{71940DCA-356A-4F68-A559-D7A1CDC80585}"/>
          </ac:spMkLst>
        </pc:spChg>
        <pc:spChg chg="mod topLvl">
          <ac:chgData name="Sebastian Kanz" userId="114b64f1-0b13-4d93-96eb-5adf208132be" providerId="ADAL" clId="{3E30DB6A-A7A2-4146-9D7B-AC756F054741}" dt="2019-10-16T11:59:07.985" v="2554" actId="164"/>
          <ac:spMkLst>
            <pc:docMk/>
            <pc:sldMk cId="2359862643" sldId="262"/>
            <ac:spMk id="8" creationId="{34DBE11A-A257-4111-8F35-8A6457176D62}"/>
          </ac:spMkLst>
        </pc:spChg>
        <pc:spChg chg="mod topLvl">
          <ac:chgData name="Sebastian Kanz" userId="114b64f1-0b13-4d93-96eb-5adf208132be" providerId="ADAL" clId="{3E30DB6A-A7A2-4146-9D7B-AC756F054741}" dt="2019-10-16T11:59:07.985" v="2554" actId="164"/>
          <ac:spMkLst>
            <pc:docMk/>
            <pc:sldMk cId="2359862643" sldId="262"/>
            <ac:spMk id="9" creationId="{8911CEFE-6F75-40B9-AF27-E83FFDC00E4F}"/>
          </ac:spMkLst>
        </pc:spChg>
        <pc:spChg chg="add mod topLvl">
          <ac:chgData name="Sebastian Kanz" userId="114b64f1-0b13-4d93-96eb-5adf208132be" providerId="ADAL" clId="{3E30DB6A-A7A2-4146-9D7B-AC756F054741}" dt="2019-10-16T11:59:07.985" v="2554" actId="164"/>
          <ac:spMkLst>
            <pc:docMk/>
            <pc:sldMk cId="2359862643" sldId="262"/>
            <ac:spMk id="10" creationId="{7B367128-D6C9-447E-9A03-28D39480D697}"/>
          </ac:spMkLst>
        </pc:spChg>
        <pc:spChg chg="add mod topLvl">
          <ac:chgData name="Sebastian Kanz" userId="114b64f1-0b13-4d93-96eb-5adf208132be" providerId="ADAL" clId="{3E30DB6A-A7A2-4146-9D7B-AC756F054741}" dt="2019-10-16T11:59:07.985" v="2554" actId="164"/>
          <ac:spMkLst>
            <pc:docMk/>
            <pc:sldMk cId="2359862643" sldId="262"/>
            <ac:spMk id="12" creationId="{81CA94FB-FAE2-4C46-ABAF-4391A1915E41}"/>
          </ac:spMkLst>
        </pc:spChg>
        <pc:grpChg chg="add del mod topLvl">
          <ac:chgData name="Sebastian Kanz" userId="114b64f1-0b13-4d93-96eb-5adf208132be" providerId="ADAL" clId="{3E30DB6A-A7A2-4146-9D7B-AC756F054741}" dt="2019-10-16T11:57:16.889" v="2543" actId="165"/>
          <ac:grpSpMkLst>
            <pc:docMk/>
            <pc:sldMk cId="2359862643" sldId="262"/>
            <ac:grpSpMk id="3" creationId="{8D1DDB60-0C0A-4D67-ACEC-5AD735110566}"/>
          </ac:grpSpMkLst>
        </pc:grpChg>
        <pc:grpChg chg="add del mod">
          <ac:chgData name="Sebastian Kanz" userId="114b64f1-0b13-4d93-96eb-5adf208132be" providerId="ADAL" clId="{3E30DB6A-A7A2-4146-9D7B-AC756F054741}" dt="2019-10-16T11:57:12.225" v="2542" actId="165"/>
          <ac:grpSpMkLst>
            <pc:docMk/>
            <pc:sldMk cId="2359862643" sldId="262"/>
            <ac:grpSpMk id="13" creationId="{BB5E6CC4-1727-477D-94FC-92274C568B66}"/>
          </ac:grpSpMkLst>
        </pc:grpChg>
        <pc:grpChg chg="add mod">
          <ac:chgData name="Sebastian Kanz" userId="114b64f1-0b13-4d93-96eb-5adf208132be" providerId="ADAL" clId="{3E30DB6A-A7A2-4146-9D7B-AC756F054741}" dt="2019-10-16T11:59:07.985" v="2554" actId="164"/>
          <ac:grpSpMkLst>
            <pc:docMk/>
            <pc:sldMk cId="2359862643" sldId="262"/>
            <ac:grpSpMk id="14" creationId="{74785FDE-0B21-45A8-8D27-BCA67D3078AC}"/>
          </ac:grpSpMkLst>
        </pc:grpChg>
        <pc:picChg chg="mod topLvl">
          <ac:chgData name="Sebastian Kanz" userId="114b64f1-0b13-4d93-96eb-5adf208132be" providerId="ADAL" clId="{3E30DB6A-A7A2-4146-9D7B-AC756F054741}" dt="2019-10-16T11:59:07.985" v="2554" actId="164"/>
          <ac:picMkLst>
            <pc:docMk/>
            <pc:sldMk cId="2359862643" sldId="262"/>
            <ac:picMk id="4" creationId="{B94EF48E-D9B2-4404-B656-854B7B8DF628}"/>
          </ac:picMkLst>
        </pc:picChg>
        <pc:picChg chg="mod topLvl">
          <ac:chgData name="Sebastian Kanz" userId="114b64f1-0b13-4d93-96eb-5adf208132be" providerId="ADAL" clId="{3E30DB6A-A7A2-4146-9D7B-AC756F054741}" dt="2019-10-16T11:59:07.985" v="2554" actId="164"/>
          <ac:picMkLst>
            <pc:docMk/>
            <pc:sldMk cId="2359862643" sldId="262"/>
            <ac:picMk id="5" creationId="{124EA799-9777-4FBF-AD43-BAA0354AB148}"/>
          </ac:picMkLst>
        </pc:picChg>
        <pc:picChg chg="mod topLvl">
          <ac:chgData name="Sebastian Kanz" userId="114b64f1-0b13-4d93-96eb-5adf208132be" providerId="ADAL" clId="{3E30DB6A-A7A2-4146-9D7B-AC756F054741}" dt="2019-10-16T11:59:07.985" v="2554" actId="164"/>
          <ac:picMkLst>
            <pc:docMk/>
            <pc:sldMk cId="2359862643" sldId="262"/>
            <ac:picMk id="6" creationId="{A7542F5C-1610-443B-9583-3E7CB54EE8B9}"/>
          </ac:picMkLst>
        </pc:picChg>
        <pc:picChg chg="add mod topLvl">
          <ac:chgData name="Sebastian Kanz" userId="114b64f1-0b13-4d93-96eb-5adf208132be" providerId="ADAL" clId="{3E30DB6A-A7A2-4146-9D7B-AC756F054741}" dt="2019-10-16T11:59:07.985" v="2554" actId="164"/>
          <ac:picMkLst>
            <pc:docMk/>
            <pc:sldMk cId="2359862643" sldId="262"/>
            <ac:picMk id="11" creationId="{2414FD65-848C-4F0D-A40E-B96A57CA7D04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57366-C4B7-714A-A9E1-37245D36512A}" type="datetimeFigureOut">
              <a:rPr lang="de-DE" smtClean="0"/>
              <a:t>16.10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EBCB47-B510-F848-8FA4-CA7E126B27C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9800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691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0692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6550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3879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5247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8990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41406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2540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837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4646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4835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60689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2146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643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1869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626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4491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70074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4135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7060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1539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929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7867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26189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780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483695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7952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483695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483695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3218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8256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83732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2964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8853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0080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304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3047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02055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4100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0538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483695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483695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823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7380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52447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>
      <p:bgPr>
        <a:gradFill flip="none" rotWithShape="1">
          <a:gsLst>
            <a:gs pos="58000">
              <a:srgbClr val="0D0D0D"/>
            </a:gs>
            <a:gs pos="75000">
              <a:schemeClr val="accent1">
                <a:lumMod val="75000"/>
              </a:schemeClr>
            </a:gs>
            <a:gs pos="79000">
              <a:srgbClr val="0D0D0D"/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251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119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555704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813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555703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684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977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0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23.xml"/><Relationship Id="rId7" Type="http://schemas.openxmlformats.org/officeDocument/2006/relationships/vmlDrawing" Target="../drawings/vmlDrawing5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5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1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8.xml"/><Relationship Id="rId7" Type="http://schemas.openxmlformats.org/officeDocument/2006/relationships/vmlDrawing" Target="../drawings/vmlDrawing6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5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38.xml"/><Relationship Id="rId7" Type="http://schemas.openxmlformats.org/officeDocument/2006/relationships/vmlDrawing" Target="../drawings/vmlDrawing8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0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1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3.emf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58000">
              <a:srgbClr val="0D0D0D"/>
            </a:gs>
            <a:gs pos="75000">
              <a:schemeClr val="accent1">
                <a:lumMod val="75000"/>
              </a:schemeClr>
            </a:gs>
            <a:gs pos="79000">
              <a:srgbClr val="0D0D0D"/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6A3D18B-8D9B-4827-916F-7F5EA3FB76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82452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6A3D18B-8D9B-4827-916F-7F5EA3FB76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7CE988D-13B0-4BEC-B994-D2BF938A069F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7BE1CD1-A7E0-AB43-81A3-10488301378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84368" y="332656"/>
            <a:ext cx="842024" cy="59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26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58000">
              <a:srgbClr val="293F1F"/>
            </a:gs>
            <a:gs pos="75000">
              <a:schemeClr val="accent6">
                <a:lumMod val="71000"/>
              </a:schemeClr>
            </a:gs>
            <a:gs pos="79000">
              <a:srgbClr val="293F1E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18B26EA-71F6-44A2-8A4E-C4F802756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79980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18B26EA-71F6-44A2-8A4E-C4F802756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CCF4759-4E15-4C66-94BE-34C485E356AC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C3469FA-C6CC-6F44-94E5-0B61BB32205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84368" y="332656"/>
            <a:ext cx="842024" cy="59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055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6" r:id="rId3"/>
    <p:sldLayoutId id="2147483688" r:id="rId4"/>
    <p:sldLayoutId id="2147483689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3000">
              <a:srgbClr val="293F1F"/>
            </a:gs>
            <a:gs pos="22000">
              <a:schemeClr val="accent6">
                <a:lumMod val="71000"/>
              </a:schemeClr>
            </a:gs>
            <a:gs pos="24000">
              <a:srgbClr val="293F1E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E7FF110-65DC-4D2C-8BDD-AE6F042E0F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58292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E7FF110-65DC-4D2C-8BDD-AE6F042E0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65C5B9E-733C-4D5A-8054-96425A665E6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C3469FA-C6CC-6F44-94E5-0B61BB32205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84368" y="332656"/>
            <a:ext cx="842024" cy="59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362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58000">
              <a:srgbClr val="031163"/>
            </a:gs>
            <a:gs pos="75000">
              <a:schemeClr val="accent1">
                <a:lumMod val="91000"/>
                <a:lumOff val="9000"/>
              </a:schemeClr>
            </a:gs>
            <a:gs pos="79000">
              <a:srgbClr val="031163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A3735D-6796-422B-8D87-6D5410A3FF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73370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A3735D-6796-422B-8D87-6D5410A3F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1CCF8CF5-3828-4536-A9F1-0FC794490AC2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E8A2ACE-ACEA-7742-AAC4-D302AC88A05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84368" y="332656"/>
            <a:ext cx="842024" cy="59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451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8" r:id="rId3"/>
    <p:sldLayoutId id="2147483700" r:id="rId4"/>
    <p:sldLayoutId id="2147483701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58000">
              <a:srgbClr val="031163"/>
            </a:gs>
            <a:gs pos="75000">
              <a:schemeClr val="accent1">
                <a:lumMod val="91000"/>
                <a:lumOff val="9000"/>
              </a:schemeClr>
            </a:gs>
            <a:gs pos="79000">
              <a:srgbClr val="031163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FDAD3CF-5ECC-4A9A-913F-9CF1CC1F91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36683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FDAD3CF-5ECC-4A9A-913F-9CF1CC1F9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46E4C1D-D1B5-4B03-BBAF-112A41EF45A1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E8A2ACE-ACEA-7742-AAC4-D302AC88A05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84368" y="332656"/>
            <a:ext cx="842024" cy="59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825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57000">
              <a:srgbClr val="6B0846"/>
            </a:gs>
            <a:gs pos="75000">
              <a:srgbClr val="CE83C3">
                <a:lumMod val="86000"/>
              </a:srgbClr>
            </a:gs>
            <a:gs pos="79000">
              <a:srgbClr val="6B0846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8958FED-19AC-4280-82A1-9F09D0F588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10501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8958FED-19AC-4280-82A1-9F09D0F588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928C320-9E32-4A35-A76C-596B59558F27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2AD7B9D-C45A-3B4C-A44A-8C70DF837FE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84368" y="332656"/>
            <a:ext cx="842024" cy="59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473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10" r:id="rId3"/>
    <p:sldLayoutId id="2147483712" r:id="rId4"/>
    <p:sldLayoutId id="2147483713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7000">
              <a:srgbClr val="6B0846"/>
            </a:gs>
            <a:gs pos="24000">
              <a:srgbClr val="CE83C3">
                <a:lumMod val="86000"/>
              </a:srgbClr>
            </a:gs>
            <a:gs pos="40000">
              <a:srgbClr val="6B0846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CEC2E10-939A-4646-8931-18ACD6353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54520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CEC2E10-939A-4646-8931-18ACD6353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601D56F1-AD2E-47A7-9751-72447D03CD7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0EE70-FBFD-C947-A038-1B682FCB60B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84368" y="332656"/>
            <a:ext cx="842024" cy="59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63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2" r:id="rId3"/>
    <p:sldLayoutId id="2147483724" r:id="rId4"/>
    <p:sldLayoutId id="2147483725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7E4DAD8-B79F-423D-8063-7AAD7D3C4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6954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7E4DAD8-B79F-423D-8063-7AAD7D3C4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4268CF9-B100-4A83-92AA-D64613512EF8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7BE1CD1-A7E0-AB43-81A3-10488301378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884368" y="332656"/>
            <a:ext cx="842024" cy="59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953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03969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47976FD-26E0-CC4F-AFB7-740F1CBB828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884368" y="324404"/>
            <a:ext cx="838054" cy="59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904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4" r:id="rId3"/>
    <p:sldLayoutId id="2147483676" r:id="rId4"/>
    <p:sldLayoutId id="2147483677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png"/><Relationship Id="rId18" Type="http://schemas.openxmlformats.org/officeDocument/2006/relationships/image" Target="../media/image15.svg"/><Relationship Id="rId26" Type="http://schemas.openxmlformats.org/officeDocument/2006/relationships/image" Target="../media/image23.png"/><Relationship Id="rId3" Type="http://schemas.openxmlformats.org/officeDocument/2006/relationships/tags" Target="../tags/tag19.xml"/><Relationship Id="rId21" Type="http://schemas.openxmlformats.org/officeDocument/2006/relationships/image" Target="../media/image18.png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17" Type="http://schemas.openxmlformats.org/officeDocument/2006/relationships/image" Target="../media/image14.png"/><Relationship Id="rId25" Type="http://schemas.openxmlformats.org/officeDocument/2006/relationships/image" Target="../media/image22.png"/><Relationship Id="rId33" Type="http://schemas.openxmlformats.org/officeDocument/2006/relationships/image" Target="../media/image30.svg"/><Relationship Id="rId2" Type="http://schemas.openxmlformats.org/officeDocument/2006/relationships/tags" Target="../tags/tag18.xml"/><Relationship Id="rId16" Type="http://schemas.openxmlformats.org/officeDocument/2006/relationships/image" Target="../media/image13.svg"/><Relationship Id="rId20" Type="http://schemas.openxmlformats.org/officeDocument/2006/relationships/image" Target="../media/image17.svg"/><Relationship Id="rId29" Type="http://schemas.openxmlformats.org/officeDocument/2006/relationships/image" Target="../media/image26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24" Type="http://schemas.openxmlformats.org/officeDocument/2006/relationships/image" Target="../media/image21.png"/><Relationship Id="rId32" Type="http://schemas.openxmlformats.org/officeDocument/2006/relationships/image" Target="../media/image29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12.png"/><Relationship Id="rId23" Type="http://schemas.openxmlformats.org/officeDocument/2006/relationships/image" Target="../media/image20.png"/><Relationship Id="rId28" Type="http://schemas.openxmlformats.org/officeDocument/2006/relationships/image" Target="../media/image25.svg"/><Relationship Id="rId10" Type="http://schemas.openxmlformats.org/officeDocument/2006/relationships/image" Target="../media/image7.svg"/><Relationship Id="rId19" Type="http://schemas.openxmlformats.org/officeDocument/2006/relationships/image" Target="../media/image16.png"/><Relationship Id="rId31" Type="http://schemas.openxmlformats.org/officeDocument/2006/relationships/image" Target="../media/image28.sv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Relationship Id="rId22" Type="http://schemas.openxmlformats.org/officeDocument/2006/relationships/image" Target="../media/image19.svg"/><Relationship Id="rId27" Type="http://schemas.openxmlformats.org/officeDocument/2006/relationships/image" Target="../media/image24.png"/><Relationship Id="rId30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BE40595-44D9-48AD-9D8D-9E30B2B13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s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C1DA008-2409-439F-9EEB-1E561EDBA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3068960"/>
            <a:ext cx="7886700" cy="3312367"/>
          </a:xfrm>
        </p:spPr>
        <p:txBody>
          <a:bodyPr/>
          <a:lstStyle/>
          <a:p>
            <a:r>
              <a:rPr lang="de-DE" dirty="0"/>
              <a:t>Machbarkeitsstudie</a:t>
            </a:r>
          </a:p>
          <a:p>
            <a:r>
              <a:rPr lang="de-DE" dirty="0"/>
              <a:t>These wird mittels </a:t>
            </a:r>
            <a:r>
              <a:rPr lang="de-DE"/>
              <a:t>PoC</a:t>
            </a:r>
            <a:r>
              <a:rPr lang="de-DE" dirty="0"/>
              <a:t> geprüft</a:t>
            </a:r>
          </a:p>
          <a:p>
            <a:r>
              <a:rPr lang="de-DE" dirty="0"/>
              <a:t>Im Fazit werden beide Teile der These diskutiert</a:t>
            </a:r>
          </a:p>
          <a:p>
            <a:r>
              <a:rPr lang="de-DE" dirty="0"/>
              <a:t>Die konkrete Problemstellung der Arbeit wird nachvollziehbar hergeleitet und abschließend beantwortet (siehe nächste Folie)</a:t>
            </a:r>
          </a:p>
          <a:p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A482929-7B64-4804-B083-7CFFDC6B796B}"/>
              </a:ext>
            </a:extLst>
          </p:cNvPr>
          <p:cNvSpPr/>
          <p:nvPr/>
        </p:nvSpPr>
        <p:spPr>
          <a:xfrm>
            <a:off x="628650" y="1628507"/>
            <a:ext cx="78867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„</a:t>
            </a:r>
            <a:r>
              <a:rPr lang="de-DE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LT eignet sich als IOT-Backbone-System und die technischen Anforderungen sind – unabhängig vom Anwendungsfall – immer gleich“</a:t>
            </a:r>
            <a:endParaRPr lang="de-DE" sz="2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6640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0096FCD-0AD1-40DA-B77A-88AF391053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183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0096FCD-0AD1-40DA-B77A-88AF391053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F5BBABD-FB78-4514-83EC-62DE6BAC6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9C99F4F-4488-49E9-8923-581945B7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gehen Masterarbeit</a:t>
            </a:r>
          </a:p>
        </p:txBody>
      </p:sp>
      <p:grpSp>
        <p:nvGrpSpPr>
          <p:cNvPr id="195" name="Gruppieren 194">
            <a:extLst>
              <a:ext uri="{FF2B5EF4-FFF2-40B4-BE49-F238E27FC236}">
                <a16:creationId xmlns:a16="http://schemas.microsoft.com/office/drawing/2014/main" id="{794548BD-5BEA-4127-A610-3495DDD93263}"/>
              </a:ext>
            </a:extLst>
          </p:cNvPr>
          <p:cNvGrpSpPr/>
          <p:nvPr/>
        </p:nvGrpSpPr>
        <p:grpSpPr>
          <a:xfrm rot="5400000">
            <a:off x="8314772" y="6057848"/>
            <a:ext cx="276999" cy="1026333"/>
            <a:chOff x="181517" y="2151788"/>
            <a:chExt cx="276999" cy="1848778"/>
          </a:xfrm>
        </p:grpSpPr>
        <p:cxnSp>
          <p:nvCxnSpPr>
            <p:cNvPr id="196" name="Gerade Verbindung mit Pfeil 195">
              <a:extLst>
                <a:ext uri="{FF2B5EF4-FFF2-40B4-BE49-F238E27FC236}">
                  <a16:creationId xmlns:a16="http://schemas.microsoft.com/office/drawing/2014/main" id="{72122C6D-A069-4831-8937-959EF6A1B6E1}"/>
                </a:ext>
              </a:extLst>
            </p:cNvPr>
            <p:cNvCxnSpPr>
              <a:cxnSpLocks/>
              <a:stCxn id="198" idx="1"/>
            </p:cNvCxnSpPr>
            <p:nvPr/>
          </p:nvCxnSpPr>
          <p:spPr>
            <a:xfrm rot="16200000" flipH="1">
              <a:off x="74790" y="3755338"/>
              <a:ext cx="490455" cy="1"/>
            </a:xfrm>
            <a:prstGeom prst="straightConnector1">
              <a:avLst/>
            </a:prstGeom>
            <a:ln w="508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Gerade Verbindung mit Pfeil 196">
              <a:extLst>
                <a:ext uri="{FF2B5EF4-FFF2-40B4-BE49-F238E27FC236}">
                  <a16:creationId xmlns:a16="http://schemas.microsoft.com/office/drawing/2014/main" id="{8AD14DE4-B319-44FE-995F-64C18EC6F50F}"/>
                </a:ext>
              </a:extLst>
            </p:cNvPr>
            <p:cNvCxnSpPr>
              <a:cxnSpLocks/>
              <a:endCxn id="198" idx="3"/>
            </p:cNvCxnSpPr>
            <p:nvPr/>
          </p:nvCxnSpPr>
          <p:spPr>
            <a:xfrm rot="16200000" flipH="1" flipV="1">
              <a:off x="61539" y="2410266"/>
              <a:ext cx="516958" cy="2"/>
            </a:xfrm>
            <a:prstGeom prst="straightConnector1">
              <a:avLst/>
            </a:prstGeom>
            <a:ln w="50800"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Textfeld 197">
              <a:extLst>
                <a:ext uri="{FF2B5EF4-FFF2-40B4-BE49-F238E27FC236}">
                  <a16:creationId xmlns:a16="http://schemas.microsoft.com/office/drawing/2014/main" id="{F69545D6-3338-4834-82D0-731F98635D4E}"/>
                </a:ext>
              </a:extLst>
            </p:cNvPr>
            <p:cNvSpPr txBox="1"/>
            <p:nvPr/>
          </p:nvSpPr>
          <p:spPr>
            <a:xfrm rot="16200000">
              <a:off x="-100666" y="2950928"/>
              <a:ext cx="84136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Lösung</a:t>
              </a:r>
            </a:p>
          </p:txBody>
        </p:sp>
      </p:grpSp>
      <p:grpSp>
        <p:nvGrpSpPr>
          <p:cNvPr id="10244" name="Gruppieren 10243">
            <a:extLst>
              <a:ext uri="{FF2B5EF4-FFF2-40B4-BE49-F238E27FC236}">
                <a16:creationId xmlns:a16="http://schemas.microsoft.com/office/drawing/2014/main" id="{6C82BCDA-3EE9-4F70-9E1D-C3DD29627FAF}"/>
              </a:ext>
            </a:extLst>
          </p:cNvPr>
          <p:cNvGrpSpPr/>
          <p:nvPr/>
        </p:nvGrpSpPr>
        <p:grpSpPr>
          <a:xfrm>
            <a:off x="288220" y="6423658"/>
            <a:ext cx="7651886" cy="276999"/>
            <a:chOff x="288220" y="6410000"/>
            <a:chExt cx="7236109" cy="276999"/>
          </a:xfrm>
        </p:grpSpPr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400F14B4-C9AE-4B43-AEA9-135D854BA0FE}"/>
                </a:ext>
              </a:extLst>
            </p:cNvPr>
            <p:cNvGrpSpPr/>
            <p:nvPr/>
          </p:nvGrpSpPr>
          <p:grpSpPr>
            <a:xfrm rot="5400000">
              <a:off x="3902368" y="2934353"/>
              <a:ext cx="7814" cy="7236109"/>
              <a:chOff x="299341" y="1739787"/>
              <a:chExt cx="7814" cy="1798910"/>
            </a:xfrm>
          </p:grpSpPr>
          <p:cxnSp>
            <p:nvCxnSpPr>
              <p:cNvPr id="82" name="Gerade Verbindung mit Pfeil 81">
                <a:extLst>
                  <a:ext uri="{FF2B5EF4-FFF2-40B4-BE49-F238E27FC236}">
                    <a16:creationId xmlns:a16="http://schemas.microsoft.com/office/drawing/2014/main" id="{34BE0279-60BD-4638-ABD5-3ACBAFEA5ADF}"/>
                  </a:ext>
                </a:extLst>
              </p:cNvPr>
              <p:cNvCxnSpPr>
                <a:cxnSpLocks/>
                <a:stCxn id="210" idx="1"/>
              </p:cNvCxnSpPr>
              <p:nvPr/>
            </p:nvCxnSpPr>
            <p:spPr>
              <a:xfrm rot="16200000" flipH="1">
                <a:off x="-66712" y="3164830"/>
                <a:ext cx="739920" cy="7814"/>
              </a:xfrm>
              <a:prstGeom prst="straightConnector1">
                <a:avLst/>
              </a:prstGeom>
              <a:ln w="508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mit Pfeil 82">
                <a:extLst>
                  <a:ext uri="{FF2B5EF4-FFF2-40B4-BE49-F238E27FC236}">
                    <a16:creationId xmlns:a16="http://schemas.microsoft.com/office/drawing/2014/main" id="{8EB955EB-4C20-4C8F-9ACA-7512B9E6473A}"/>
                  </a:ext>
                </a:extLst>
              </p:cNvPr>
              <p:cNvCxnSpPr>
                <a:cxnSpLocks/>
                <a:endCxn id="210" idx="3"/>
              </p:cNvCxnSpPr>
              <p:nvPr/>
            </p:nvCxnSpPr>
            <p:spPr>
              <a:xfrm rot="16200000" flipH="1" flipV="1">
                <a:off x="-7225" y="2046353"/>
                <a:ext cx="620943" cy="7812"/>
              </a:xfrm>
              <a:prstGeom prst="straightConnector1">
                <a:avLst/>
              </a:prstGeom>
              <a:ln w="50800"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0" name="Textfeld 209">
              <a:extLst>
                <a:ext uri="{FF2B5EF4-FFF2-40B4-BE49-F238E27FC236}">
                  <a16:creationId xmlns:a16="http://schemas.microsoft.com/office/drawing/2014/main" id="{8D64593D-1FEF-466B-92C8-ADBEEF0B9055}"/>
                </a:ext>
              </a:extLst>
            </p:cNvPr>
            <p:cNvSpPr txBox="1"/>
            <p:nvPr/>
          </p:nvSpPr>
          <p:spPr>
            <a:xfrm>
              <a:off x="3264546" y="6410000"/>
              <a:ext cx="17620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Herleitung des Problems</a:t>
              </a:r>
            </a:p>
          </p:txBody>
        </p:sp>
      </p:grpSp>
      <p:grpSp>
        <p:nvGrpSpPr>
          <p:cNvPr id="10247" name="Gruppieren 10246">
            <a:extLst>
              <a:ext uri="{FF2B5EF4-FFF2-40B4-BE49-F238E27FC236}">
                <a16:creationId xmlns:a16="http://schemas.microsoft.com/office/drawing/2014/main" id="{1A93A8D9-36CF-483A-AA31-49B8059E7E36}"/>
              </a:ext>
            </a:extLst>
          </p:cNvPr>
          <p:cNvGrpSpPr/>
          <p:nvPr/>
        </p:nvGrpSpPr>
        <p:grpSpPr>
          <a:xfrm>
            <a:off x="177559" y="1827471"/>
            <a:ext cx="8788881" cy="4483695"/>
            <a:chOff x="177559" y="1827471"/>
            <a:chExt cx="8788881" cy="4483695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3E0C25D6-42AF-4C87-8C7E-3CD24777E374}"/>
                </a:ext>
              </a:extLst>
            </p:cNvPr>
            <p:cNvSpPr/>
            <p:nvPr/>
          </p:nvSpPr>
          <p:spPr>
            <a:xfrm>
              <a:off x="177559" y="1827471"/>
              <a:ext cx="8788881" cy="4483695"/>
            </a:xfrm>
            <a:prstGeom prst="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98" name="Gruppieren 97">
              <a:extLst>
                <a:ext uri="{FF2B5EF4-FFF2-40B4-BE49-F238E27FC236}">
                  <a16:creationId xmlns:a16="http://schemas.microsoft.com/office/drawing/2014/main" id="{82860666-0DB4-4616-A4A2-9B833A212C82}"/>
                </a:ext>
              </a:extLst>
            </p:cNvPr>
            <p:cNvGrpSpPr/>
            <p:nvPr/>
          </p:nvGrpSpPr>
          <p:grpSpPr>
            <a:xfrm>
              <a:off x="8026147" y="3673610"/>
              <a:ext cx="864000" cy="1023039"/>
              <a:chOff x="7849819" y="3673610"/>
              <a:chExt cx="864000" cy="1023039"/>
            </a:xfrm>
          </p:grpSpPr>
          <p:pic>
            <p:nvPicPr>
              <p:cNvPr id="39" name="Grafik 38" descr="Webdesign">
                <a:extLst>
                  <a:ext uri="{FF2B5EF4-FFF2-40B4-BE49-F238E27FC236}">
                    <a16:creationId xmlns:a16="http://schemas.microsoft.com/office/drawing/2014/main" id="{6D7C4A72-7EFF-4645-B867-2C6DF21EFB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849819" y="3673610"/>
                <a:ext cx="864000" cy="864000"/>
              </a:xfrm>
              <a:prstGeom prst="rect">
                <a:avLst/>
              </a:prstGeom>
            </p:spPr>
          </p:pic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E43B757F-BFEF-43C7-A980-FCD85E50008B}"/>
                  </a:ext>
                </a:extLst>
              </p:cNvPr>
              <p:cNvSpPr txBox="1"/>
              <p:nvPr/>
            </p:nvSpPr>
            <p:spPr>
              <a:xfrm>
                <a:off x="8012075" y="4327317"/>
                <a:ext cx="5439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PoC</a:t>
                </a:r>
                <a:endParaRPr lang="de-DE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grpSp>
          <p:nvGrpSpPr>
            <p:cNvPr id="93" name="Gruppieren 92">
              <a:extLst>
                <a:ext uri="{FF2B5EF4-FFF2-40B4-BE49-F238E27FC236}">
                  <a16:creationId xmlns:a16="http://schemas.microsoft.com/office/drawing/2014/main" id="{F2A9477F-2072-4BCB-84F8-855DAFA04988}"/>
                </a:ext>
              </a:extLst>
            </p:cNvPr>
            <p:cNvGrpSpPr/>
            <p:nvPr/>
          </p:nvGrpSpPr>
          <p:grpSpPr>
            <a:xfrm>
              <a:off x="251520" y="1922807"/>
              <a:ext cx="541921" cy="4300514"/>
              <a:chOff x="712968" y="1922807"/>
              <a:chExt cx="541921" cy="4300514"/>
            </a:xfrm>
          </p:grpSpPr>
          <p:grpSp>
            <p:nvGrpSpPr>
              <p:cNvPr id="91" name="Gruppieren 90">
                <a:extLst>
                  <a:ext uri="{FF2B5EF4-FFF2-40B4-BE49-F238E27FC236}">
                    <a16:creationId xmlns:a16="http://schemas.microsoft.com/office/drawing/2014/main" id="{2F01F066-10F3-49BE-8FF0-D2ABD7C7BEB5}"/>
                  </a:ext>
                </a:extLst>
              </p:cNvPr>
              <p:cNvGrpSpPr/>
              <p:nvPr/>
            </p:nvGrpSpPr>
            <p:grpSpPr>
              <a:xfrm>
                <a:off x="714889" y="4065826"/>
                <a:ext cx="540000" cy="2157495"/>
                <a:chOff x="733580" y="1436066"/>
                <a:chExt cx="540000" cy="2544349"/>
              </a:xfrm>
            </p:grpSpPr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183E4B85-1FDF-4509-8AA3-89B162E0C16B}"/>
                    </a:ext>
                  </a:extLst>
                </p:cNvPr>
                <p:cNvSpPr/>
                <p:nvPr/>
              </p:nvSpPr>
              <p:spPr>
                <a:xfrm>
                  <a:off x="733580" y="1436066"/>
                  <a:ext cx="540000" cy="2544349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5"/>
                    </a:gs>
                    <a:gs pos="50000">
                      <a:schemeClr val="accent5">
                        <a:lumMod val="60000"/>
                        <a:lumOff val="4000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/>
                    <a:t>DLT</a:t>
                  </a:r>
                </a:p>
              </p:txBody>
            </p:sp>
            <p:pic>
              <p:nvPicPr>
                <p:cNvPr id="16" name="Grafik 15" descr="Verknüpfung">
                  <a:extLst>
                    <a:ext uri="{FF2B5EF4-FFF2-40B4-BE49-F238E27FC236}">
                      <a16:creationId xmlns:a16="http://schemas.microsoft.com/office/drawing/2014/main" id="{5C148625-9798-4CD3-B4E4-1386F4A655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6083" y="3526631"/>
                  <a:ext cx="360000" cy="360000"/>
                </a:xfrm>
                <a:prstGeom prst="rect">
                  <a:avLst/>
                </a:prstGeom>
              </p:spPr>
            </p:pic>
          </p:grpSp>
          <p:grpSp>
            <p:nvGrpSpPr>
              <p:cNvPr id="92" name="Gruppieren 91">
                <a:extLst>
                  <a:ext uri="{FF2B5EF4-FFF2-40B4-BE49-F238E27FC236}">
                    <a16:creationId xmlns:a16="http://schemas.microsoft.com/office/drawing/2014/main" id="{F9DA3C51-CE95-481A-AA4B-AF7C6D95EDA9}"/>
                  </a:ext>
                </a:extLst>
              </p:cNvPr>
              <p:cNvGrpSpPr/>
              <p:nvPr/>
            </p:nvGrpSpPr>
            <p:grpSpPr>
              <a:xfrm>
                <a:off x="712968" y="1922807"/>
                <a:ext cx="540000" cy="2143020"/>
                <a:chOff x="712968" y="1922807"/>
                <a:chExt cx="540000" cy="2143020"/>
              </a:xfrm>
            </p:grpSpPr>
            <p:sp>
              <p:nvSpPr>
                <p:cNvPr id="18" name="Rechteck 17">
                  <a:extLst>
                    <a:ext uri="{FF2B5EF4-FFF2-40B4-BE49-F238E27FC236}">
                      <a16:creationId xmlns:a16="http://schemas.microsoft.com/office/drawing/2014/main" id="{848EEFC1-6E2D-4536-BF1E-230F7D060476}"/>
                    </a:ext>
                  </a:extLst>
                </p:cNvPr>
                <p:cNvSpPr/>
                <p:nvPr/>
              </p:nvSpPr>
              <p:spPr>
                <a:xfrm>
                  <a:off x="712968" y="1922807"/>
                  <a:ext cx="540000" cy="2143020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6"/>
                    </a:gs>
                    <a:gs pos="50000">
                      <a:schemeClr val="accent6">
                        <a:lumMod val="60000"/>
                        <a:lumOff val="40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/>
                    <a:t>IOT</a:t>
                  </a:r>
                </a:p>
              </p:txBody>
            </p:sp>
            <p:pic>
              <p:nvPicPr>
                <p:cNvPr id="14" name="Grafik 13" descr="Glühbirne und Zahnrad">
                  <a:extLst>
                    <a:ext uri="{FF2B5EF4-FFF2-40B4-BE49-F238E27FC236}">
                      <a16:creationId xmlns:a16="http://schemas.microsoft.com/office/drawing/2014/main" id="{D1C9C951-BFEB-4CD7-8A97-4952C6218A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0934" y="1991726"/>
                  <a:ext cx="360000" cy="360000"/>
                </a:xfrm>
                <a:prstGeom prst="rect">
                  <a:avLst/>
                </a:prstGeom>
              </p:spPr>
            </p:pic>
          </p:grpSp>
          <p:pic>
            <p:nvPicPr>
              <p:cNvPr id="20" name="Grafik 19" descr="Fragezeichen">
                <a:extLst>
                  <a:ext uri="{FF2B5EF4-FFF2-40B4-BE49-F238E27FC236}">
                    <a16:creationId xmlns:a16="http://schemas.microsoft.com/office/drawing/2014/main" id="{12D50E3B-6B2D-4F74-BDB8-2CB3FBD536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869010" y="3995576"/>
                <a:ext cx="216000" cy="216000"/>
              </a:xfrm>
              <a:prstGeom prst="rect">
                <a:avLst/>
              </a:prstGeom>
            </p:spPr>
          </p:pic>
        </p:grpSp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E064C171-9DB7-4D7C-B814-249222BE2124}"/>
                </a:ext>
              </a:extLst>
            </p:cNvPr>
            <p:cNvGrpSpPr/>
            <p:nvPr/>
          </p:nvGrpSpPr>
          <p:grpSpPr>
            <a:xfrm>
              <a:off x="1210619" y="2923853"/>
              <a:ext cx="4901521" cy="2143445"/>
              <a:chOff x="8774517" y="1578015"/>
              <a:chExt cx="4901521" cy="2143445"/>
            </a:xfrm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19040D49-95F3-4DA6-85F4-8733069770E2}"/>
                  </a:ext>
                </a:extLst>
              </p:cNvPr>
              <p:cNvSpPr/>
              <p:nvPr/>
            </p:nvSpPr>
            <p:spPr>
              <a:xfrm>
                <a:off x="8808782" y="1922807"/>
                <a:ext cx="4796169" cy="1798653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4454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pic>
            <p:nvPicPr>
              <p:cNvPr id="8" name="Grafik 7" descr="Liste">
                <a:extLst>
                  <a:ext uri="{FF2B5EF4-FFF2-40B4-BE49-F238E27FC236}">
                    <a16:creationId xmlns:a16="http://schemas.microsoft.com/office/drawing/2014/main" id="{92C2EA3F-0429-43B7-BE9B-4D75B07599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8809110" y="2287025"/>
                <a:ext cx="1055260" cy="1055260"/>
              </a:xfrm>
              <a:prstGeom prst="rect">
                <a:avLst/>
              </a:prstGeom>
            </p:spPr>
          </p:pic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4E58F404-C5BA-40BB-9567-74A1710D33DC}"/>
                  </a:ext>
                </a:extLst>
              </p:cNvPr>
              <p:cNvSpPr/>
              <p:nvPr/>
            </p:nvSpPr>
            <p:spPr>
              <a:xfrm>
                <a:off x="9872468" y="1578015"/>
                <a:ext cx="2791222" cy="523257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Anwendungsfall</a:t>
                </a:r>
              </a:p>
            </p:txBody>
          </p:sp>
          <p:pic>
            <p:nvPicPr>
              <p:cNvPr id="26" name="Grafik 25" descr="Wiederholen">
                <a:extLst>
                  <a:ext uri="{FF2B5EF4-FFF2-40B4-BE49-F238E27FC236}">
                    <a16:creationId xmlns:a16="http://schemas.microsoft.com/office/drawing/2014/main" id="{1A99588F-4450-46ED-9DBC-5BFA8ED0F1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9752302" y="2706655"/>
                <a:ext cx="216000" cy="216000"/>
              </a:xfrm>
              <a:prstGeom prst="rect">
                <a:avLst/>
              </a:prstGeom>
            </p:spPr>
          </p:pic>
          <p:pic>
            <p:nvPicPr>
              <p:cNvPr id="27" name="Grafik 26" descr="Liste">
                <a:extLst>
                  <a:ext uri="{FF2B5EF4-FFF2-40B4-BE49-F238E27FC236}">
                    <a16:creationId xmlns:a16="http://schemas.microsoft.com/office/drawing/2014/main" id="{0CFED3FD-48FD-4265-8CB0-685CF122A8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9932407" y="2454655"/>
                <a:ext cx="720000" cy="720000"/>
              </a:xfrm>
              <a:prstGeom prst="rect">
                <a:avLst/>
              </a:prstGeom>
            </p:spPr>
          </p:pic>
          <p:pic>
            <p:nvPicPr>
              <p:cNvPr id="28" name="Grafik 27" descr="Wiederholen">
                <a:extLst>
                  <a:ext uri="{FF2B5EF4-FFF2-40B4-BE49-F238E27FC236}">
                    <a16:creationId xmlns:a16="http://schemas.microsoft.com/office/drawing/2014/main" id="{6958BBD9-E5E2-43C2-9C41-1591D20F08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10612444" y="2706655"/>
                <a:ext cx="216000" cy="216000"/>
              </a:xfrm>
              <a:prstGeom prst="rect">
                <a:avLst/>
              </a:prstGeom>
            </p:spPr>
          </p:pic>
          <p:pic>
            <p:nvPicPr>
              <p:cNvPr id="30" name="Grafik 29" descr="Checkliste">
                <a:extLst>
                  <a:ext uri="{FF2B5EF4-FFF2-40B4-BE49-F238E27FC236}">
                    <a16:creationId xmlns:a16="http://schemas.microsoft.com/office/drawing/2014/main" id="{138AE2DB-77F5-4EAE-B8E1-4C7521EA1F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10792549" y="2544655"/>
                <a:ext cx="504000" cy="504000"/>
              </a:xfrm>
              <a:prstGeom prst="rect">
                <a:avLst/>
              </a:prstGeom>
            </p:spPr>
          </p:pic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FDB21786-36CD-4CD5-8AAC-7ADB8ABB9289}"/>
                  </a:ext>
                </a:extLst>
              </p:cNvPr>
              <p:cNvSpPr/>
              <p:nvPr/>
            </p:nvSpPr>
            <p:spPr>
              <a:xfrm>
                <a:off x="8988518" y="3356992"/>
                <a:ext cx="2218524" cy="239377"/>
              </a:xfrm>
              <a:prstGeom prst="rect">
                <a:avLst/>
              </a:prstGeom>
              <a:gradFill flip="none" rotWithShape="1">
                <a:gsLst>
                  <a:gs pos="0">
                    <a:srgbClr val="44546A"/>
                  </a:gs>
                  <a:gs pos="50000">
                    <a:srgbClr val="44546A">
                      <a:alpha val="50000"/>
                    </a:srgbClr>
                  </a:gs>
                  <a:gs pos="100000">
                    <a:schemeClr val="bg1"/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de-DE" sz="1200" dirty="0"/>
                  <a:t>DLT-Relevanz</a:t>
                </a:r>
              </a:p>
            </p:txBody>
          </p:sp>
          <p:sp>
            <p:nvSpPr>
              <p:cNvPr id="32" name="Pfeil: Chevron 31">
                <a:extLst>
                  <a:ext uri="{FF2B5EF4-FFF2-40B4-BE49-F238E27FC236}">
                    <a16:creationId xmlns:a16="http://schemas.microsoft.com/office/drawing/2014/main" id="{0BC19F32-7AC1-4BF0-AB14-C8962E88D537}"/>
                  </a:ext>
                </a:extLst>
              </p:cNvPr>
              <p:cNvSpPr/>
              <p:nvPr/>
            </p:nvSpPr>
            <p:spPr>
              <a:xfrm>
                <a:off x="11424333" y="2512449"/>
                <a:ext cx="355112" cy="859932"/>
              </a:xfrm>
              <a:prstGeom prst="chevron">
                <a:avLst/>
              </a:prstGeom>
              <a:solidFill>
                <a:srgbClr val="44546A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</a:endParaRPr>
              </a:p>
            </p:txBody>
          </p:sp>
          <p:pic>
            <p:nvPicPr>
              <p:cNvPr id="34" name="Grafik 33" descr="Filter">
                <a:extLst>
                  <a:ext uri="{FF2B5EF4-FFF2-40B4-BE49-F238E27FC236}">
                    <a16:creationId xmlns:a16="http://schemas.microsoft.com/office/drawing/2014/main" id="{85E14CCD-5580-4170-AF33-0F5B89CF8D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10549243" y="2284392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35" name="Grafik 34" descr="Filter">
                <a:extLst>
                  <a:ext uri="{FF2B5EF4-FFF2-40B4-BE49-F238E27FC236}">
                    <a16:creationId xmlns:a16="http://schemas.microsoft.com/office/drawing/2014/main" id="{C6028984-2E87-44EC-A9E4-9A6A148FF8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9680302" y="2284392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36" name="Grafik 35" descr="Checkliste">
                <a:extLst>
                  <a:ext uri="{FF2B5EF4-FFF2-40B4-BE49-F238E27FC236}">
                    <a16:creationId xmlns:a16="http://schemas.microsoft.com/office/drawing/2014/main" id="{C84F09A8-2A69-4034-8245-027AC89149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11703970" y="2402415"/>
                <a:ext cx="1080000" cy="1080000"/>
              </a:xfrm>
              <a:prstGeom prst="rect">
                <a:avLst/>
              </a:prstGeom>
            </p:spPr>
          </p:pic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ADAB1DE6-652D-45D4-B68E-3C8E36DE1E1C}"/>
                  </a:ext>
                </a:extLst>
              </p:cNvPr>
              <p:cNvSpPr txBox="1"/>
              <p:nvPr/>
            </p:nvSpPr>
            <p:spPr>
              <a:xfrm>
                <a:off x="12532514" y="2619241"/>
                <a:ext cx="1143524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 err="1"/>
                  <a:t>Subset</a:t>
                </a:r>
                <a:r>
                  <a:rPr lang="de-DE" sz="1200" dirty="0"/>
                  <a:t> DLT-relevanter Anforderungen</a:t>
                </a:r>
              </a:p>
            </p:txBody>
          </p:sp>
          <p:sp>
            <p:nvSpPr>
              <p:cNvPr id="94" name="Textfeld 93">
                <a:extLst>
                  <a:ext uri="{FF2B5EF4-FFF2-40B4-BE49-F238E27FC236}">
                    <a16:creationId xmlns:a16="http://schemas.microsoft.com/office/drawing/2014/main" id="{996604DE-485A-478E-AF53-9C993F09350C}"/>
                  </a:ext>
                </a:extLst>
              </p:cNvPr>
              <p:cNvSpPr txBox="1"/>
              <p:nvPr/>
            </p:nvSpPr>
            <p:spPr>
              <a:xfrm>
                <a:off x="8774517" y="2125416"/>
                <a:ext cx="112774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dirty="0"/>
                  <a:t>Anforderungen</a:t>
                </a:r>
              </a:p>
            </p:txBody>
          </p:sp>
        </p:grpSp>
        <p:sp>
          <p:nvSpPr>
            <p:cNvPr id="96" name="Pfeil: Chevron 95">
              <a:extLst>
                <a:ext uri="{FF2B5EF4-FFF2-40B4-BE49-F238E27FC236}">
                  <a16:creationId xmlns:a16="http://schemas.microsoft.com/office/drawing/2014/main" id="{FA45AB4B-8CD8-49DE-93ED-EAA4886C115F}"/>
                </a:ext>
              </a:extLst>
            </p:cNvPr>
            <p:cNvSpPr/>
            <p:nvPr/>
          </p:nvSpPr>
          <p:spPr>
            <a:xfrm>
              <a:off x="838375" y="3673610"/>
              <a:ext cx="355112" cy="859932"/>
            </a:xfrm>
            <a:prstGeom prst="chevron">
              <a:avLst/>
            </a:prstGeom>
            <a:gradFill flip="none" rotWithShape="1">
              <a:gsLst>
                <a:gs pos="1000">
                  <a:srgbClr val="72AE49"/>
                </a:gs>
                <a:gs pos="50000">
                  <a:schemeClr val="bg1"/>
                </a:gs>
                <a:gs pos="100000">
                  <a:srgbClr val="5E9DD6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pic>
          <p:nvPicPr>
            <p:cNvPr id="10252" name="Picture 12" descr="Ähnliches Foto">
              <a:extLst>
                <a:ext uri="{FF2B5EF4-FFF2-40B4-BE49-F238E27FC236}">
                  <a16:creationId xmlns:a16="http://schemas.microsoft.com/office/drawing/2014/main" id="{738A7C88-FF38-4FC9-BEEA-12763A167B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5549" y="1916832"/>
              <a:ext cx="1129299" cy="9730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6" name="Picture 16" descr="Bildergebnis für ethereum">
              <a:extLst>
                <a:ext uri="{FF2B5EF4-FFF2-40B4-BE49-F238E27FC236}">
                  <a16:creationId xmlns:a16="http://schemas.microsoft.com/office/drawing/2014/main" id="{C1FF2AB5-245A-4F4D-A622-CFA797B17E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2902" y="5188253"/>
              <a:ext cx="225917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8" name="Picture 18" descr="Bildergebnis für bitcoin icon">
              <a:extLst>
                <a:ext uri="{FF2B5EF4-FFF2-40B4-BE49-F238E27FC236}">
                  <a16:creationId xmlns:a16="http://schemas.microsoft.com/office/drawing/2014/main" id="{CCFDD578-A22B-49A9-9161-051D8C70C7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9160" y="4828253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0" name="Picture 20" descr="Bildergebnis für hyperledger icon">
              <a:extLst>
                <a:ext uri="{FF2B5EF4-FFF2-40B4-BE49-F238E27FC236}">
                  <a16:creationId xmlns:a16="http://schemas.microsoft.com/office/drawing/2014/main" id="{129FF40B-5B89-46AE-8DEC-F99FCB7B25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9264" y="4061530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" name="Grafik 119">
              <a:extLst>
                <a:ext uri="{FF2B5EF4-FFF2-40B4-BE49-F238E27FC236}">
                  <a16:creationId xmlns:a16="http://schemas.microsoft.com/office/drawing/2014/main" id="{BE1629C1-EA01-4334-9251-EA4D9C6376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alphaModFix amt="50000"/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6382457" y="4661432"/>
              <a:ext cx="491952" cy="360000"/>
            </a:xfrm>
            <a:prstGeom prst="rect">
              <a:avLst/>
            </a:prstGeom>
          </p:spPr>
        </p:pic>
        <p:pic>
          <p:nvPicPr>
            <p:cNvPr id="10264" name="Picture 24" descr="Bildergebnis für iota icon">
              <a:extLst>
                <a:ext uri="{FF2B5EF4-FFF2-40B4-BE49-F238E27FC236}">
                  <a16:creationId xmlns:a16="http://schemas.microsoft.com/office/drawing/2014/main" id="{8B6E7794-47E5-4BDE-A815-2527355D60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10946" y="4119929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6" name="Picture 26" descr="Bildergebnis für dot dot dot icon">
              <a:extLst>
                <a:ext uri="{FF2B5EF4-FFF2-40B4-BE49-F238E27FC236}">
                  <a16:creationId xmlns:a16="http://schemas.microsoft.com/office/drawing/2014/main" id="{6D165B26-4E6D-4A69-B873-620D5729F3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1951" y="5428456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83" name="Gruppieren 182">
              <a:extLst>
                <a:ext uri="{FF2B5EF4-FFF2-40B4-BE49-F238E27FC236}">
                  <a16:creationId xmlns:a16="http://schemas.microsoft.com/office/drawing/2014/main" id="{2E978C7F-87FB-4D2C-8967-B53E66A16BE6}"/>
                </a:ext>
              </a:extLst>
            </p:cNvPr>
            <p:cNvGrpSpPr/>
            <p:nvPr/>
          </p:nvGrpSpPr>
          <p:grpSpPr>
            <a:xfrm>
              <a:off x="6312384" y="2761512"/>
              <a:ext cx="1596911" cy="1077584"/>
              <a:chOff x="3851919" y="3069000"/>
              <a:chExt cx="1596911" cy="1077584"/>
            </a:xfrm>
          </p:grpSpPr>
          <p:pic>
            <p:nvPicPr>
              <p:cNvPr id="184" name="Grafik 183" descr="Verknüpfung">
                <a:extLst>
                  <a:ext uri="{FF2B5EF4-FFF2-40B4-BE49-F238E27FC236}">
                    <a16:creationId xmlns:a16="http://schemas.microsoft.com/office/drawing/2014/main" id="{9C97174B-B39B-4DC9-AFF2-6DDF6FEAE3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>
                <a:off x="3851919" y="3069000"/>
                <a:ext cx="314953" cy="360000"/>
              </a:xfrm>
              <a:prstGeom prst="rect">
                <a:avLst/>
              </a:prstGeom>
            </p:spPr>
          </p:pic>
          <p:pic>
            <p:nvPicPr>
              <p:cNvPr id="185" name="Grafik 184" descr="Verknüpfung">
                <a:extLst>
                  <a:ext uri="{FF2B5EF4-FFF2-40B4-BE49-F238E27FC236}">
                    <a16:creationId xmlns:a16="http://schemas.microsoft.com/office/drawing/2014/main" id="{46ABB752-CDEE-4E8F-85B7-27F5ADDD23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>
                <a:off x="3853668" y="3429000"/>
                <a:ext cx="314953" cy="360000"/>
              </a:xfrm>
              <a:prstGeom prst="rect">
                <a:avLst/>
              </a:prstGeom>
            </p:spPr>
          </p:pic>
          <p:pic>
            <p:nvPicPr>
              <p:cNvPr id="186" name="Grafik 185" descr="Verknüpfung">
                <a:extLst>
                  <a:ext uri="{FF2B5EF4-FFF2-40B4-BE49-F238E27FC236}">
                    <a16:creationId xmlns:a16="http://schemas.microsoft.com/office/drawing/2014/main" id="{676D95C8-C342-414E-953F-33E12BB28A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>
                <a:off x="3853668" y="3786584"/>
                <a:ext cx="314953" cy="360000"/>
              </a:xfrm>
              <a:prstGeom prst="rect">
                <a:avLst/>
              </a:prstGeom>
            </p:spPr>
          </p:pic>
          <p:sp>
            <p:nvSpPr>
              <p:cNvPr id="187" name="Textfeld 186">
                <a:extLst>
                  <a:ext uri="{FF2B5EF4-FFF2-40B4-BE49-F238E27FC236}">
                    <a16:creationId xmlns:a16="http://schemas.microsoft.com/office/drawing/2014/main" id="{C30B9D7F-6054-4DD4-A99E-191DF52558DD}"/>
                  </a:ext>
                </a:extLst>
              </p:cNvPr>
              <p:cNvSpPr txBox="1"/>
              <p:nvPr/>
            </p:nvSpPr>
            <p:spPr>
              <a:xfrm>
                <a:off x="4071710" y="3106218"/>
                <a:ext cx="532453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>
                    <a:solidFill>
                      <a:srgbClr val="203864"/>
                    </a:solidFill>
                  </a:rPr>
                  <a:t>DLT A</a:t>
                </a:r>
              </a:p>
            </p:txBody>
          </p:sp>
          <p:sp>
            <p:nvSpPr>
              <p:cNvPr id="188" name="Textfeld 187">
                <a:extLst>
                  <a:ext uri="{FF2B5EF4-FFF2-40B4-BE49-F238E27FC236}">
                    <a16:creationId xmlns:a16="http://schemas.microsoft.com/office/drawing/2014/main" id="{0053E62B-0CB6-4C7A-B042-07093981C17A}"/>
                  </a:ext>
                </a:extLst>
              </p:cNvPr>
              <p:cNvSpPr txBox="1"/>
              <p:nvPr/>
            </p:nvSpPr>
            <p:spPr>
              <a:xfrm>
                <a:off x="4066336" y="3474783"/>
                <a:ext cx="526041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>
                    <a:solidFill>
                      <a:srgbClr val="203864"/>
                    </a:solidFill>
                  </a:rPr>
                  <a:t>DLT B</a:t>
                </a:r>
              </a:p>
            </p:txBody>
          </p:sp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ED69828A-BFCF-4AB9-89E5-A48B283B2516}"/>
                  </a:ext>
                </a:extLst>
              </p:cNvPr>
              <p:cNvSpPr txBox="1"/>
              <p:nvPr/>
            </p:nvSpPr>
            <p:spPr>
              <a:xfrm>
                <a:off x="4067136" y="3811718"/>
                <a:ext cx="524439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>
                    <a:solidFill>
                      <a:srgbClr val="203864"/>
                    </a:solidFill>
                  </a:rPr>
                  <a:t>DLT C</a:t>
                </a:r>
              </a:p>
            </p:txBody>
          </p:sp>
          <p:sp>
            <p:nvSpPr>
              <p:cNvPr id="190" name="Pfeil: Chevron 189">
                <a:extLst>
                  <a:ext uri="{FF2B5EF4-FFF2-40B4-BE49-F238E27FC236}">
                    <a16:creationId xmlns:a16="http://schemas.microsoft.com/office/drawing/2014/main" id="{5E51FB02-F7F8-4362-AAB3-714967BEBF05}"/>
                  </a:ext>
                </a:extLst>
              </p:cNvPr>
              <p:cNvSpPr/>
              <p:nvPr/>
            </p:nvSpPr>
            <p:spPr>
              <a:xfrm>
                <a:off x="4539043" y="3420458"/>
                <a:ext cx="165907" cy="377083"/>
              </a:xfrm>
              <a:prstGeom prst="chevron">
                <a:avLst/>
              </a:prstGeom>
              <a:solidFill>
                <a:srgbClr val="44546A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91" name="Grafik 190" descr="Verknüpfung">
                <a:extLst>
                  <a:ext uri="{FF2B5EF4-FFF2-40B4-BE49-F238E27FC236}">
                    <a16:creationId xmlns:a16="http://schemas.microsoft.com/office/drawing/2014/main" id="{7357005D-7F81-41DC-B4F5-2F8D3E4CC9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2"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4704950" y="3428999"/>
                <a:ext cx="314953" cy="360000"/>
              </a:xfrm>
              <a:prstGeom prst="rect">
                <a:avLst/>
              </a:prstGeom>
            </p:spPr>
          </p:pic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E9DDB7D9-6C60-417D-836D-AC974A95B219}"/>
                  </a:ext>
                </a:extLst>
              </p:cNvPr>
              <p:cNvSpPr txBox="1"/>
              <p:nvPr/>
            </p:nvSpPr>
            <p:spPr>
              <a:xfrm>
                <a:off x="4922789" y="3470499"/>
                <a:ext cx="526041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de-DE" sz="1200" dirty="0">
                    <a:solidFill>
                      <a:schemeClr val="accent6"/>
                    </a:solidFill>
                  </a:rPr>
                  <a:t>DLT B</a:t>
                </a:r>
              </a:p>
            </p:txBody>
          </p:sp>
        </p:grpSp>
        <p:sp>
          <p:nvSpPr>
            <p:cNvPr id="130" name="Runde Klammer links/rechts 129">
              <a:extLst>
                <a:ext uri="{FF2B5EF4-FFF2-40B4-BE49-F238E27FC236}">
                  <a16:creationId xmlns:a16="http://schemas.microsoft.com/office/drawing/2014/main" id="{BDCFF999-AEC3-4F8A-88A3-0F144D4DE9CC}"/>
                </a:ext>
              </a:extLst>
            </p:cNvPr>
            <p:cNvSpPr/>
            <p:nvPr/>
          </p:nvSpPr>
          <p:spPr>
            <a:xfrm>
              <a:off x="6228365" y="2351726"/>
              <a:ext cx="1670423" cy="3486805"/>
            </a:xfrm>
            <a:prstGeom prst="bracketPair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4" name="Grafik 193" descr="Fragezeichen">
              <a:extLst>
                <a:ext uri="{FF2B5EF4-FFF2-40B4-BE49-F238E27FC236}">
                  <a16:creationId xmlns:a16="http://schemas.microsoft.com/office/drawing/2014/main" id="{5EE8D009-086B-456E-A4B2-AA95C46D1E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015861" y="4745757"/>
              <a:ext cx="216000" cy="216000"/>
            </a:xfrm>
            <a:prstGeom prst="rect">
              <a:avLst/>
            </a:prstGeom>
          </p:spPr>
        </p:pic>
        <p:cxnSp>
          <p:nvCxnSpPr>
            <p:cNvPr id="109" name="Gerade Verbindung mit Pfeil 108">
              <a:extLst>
                <a:ext uri="{FF2B5EF4-FFF2-40B4-BE49-F238E27FC236}">
                  <a16:creationId xmlns:a16="http://schemas.microsoft.com/office/drawing/2014/main" id="{7A076089-B725-469B-B8BF-F3541B2A59CA}"/>
                </a:ext>
              </a:extLst>
            </p:cNvPr>
            <p:cNvCxnSpPr>
              <a:cxnSpLocks/>
            </p:cNvCxnSpPr>
            <p:nvPr/>
          </p:nvCxnSpPr>
          <p:spPr>
            <a:xfrm>
              <a:off x="7758258" y="4142493"/>
              <a:ext cx="288000" cy="0"/>
            </a:xfrm>
            <a:prstGeom prst="straightConnector1">
              <a:avLst/>
            </a:prstGeom>
            <a:ln w="63500">
              <a:solidFill>
                <a:schemeClr val="accent6">
                  <a:alpha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B51C71AC-B6D9-4E3D-A7FB-9C263BD8C2D6}"/>
                </a:ext>
              </a:extLst>
            </p:cNvPr>
            <p:cNvCxnSpPr>
              <a:cxnSpLocks/>
            </p:cNvCxnSpPr>
            <p:nvPr/>
          </p:nvCxnSpPr>
          <p:spPr>
            <a:xfrm>
              <a:off x="6156208" y="4139706"/>
              <a:ext cx="288000" cy="0"/>
            </a:xfrm>
            <a:prstGeom prst="straightConnector1">
              <a:avLst/>
            </a:prstGeom>
            <a:ln w="63500">
              <a:solidFill>
                <a:schemeClr val="accent6">
                  <a:alpha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88430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0096FCD-0AD1-40DA-B77A-88AF391053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0096FCD-0AD1-40DA-B77A-88AF391053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F5BBABD-FB78-4514-83EC-62DE6BAC6F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9C99F4F-4488-49E9-8923-581945B7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gehen Masterarbeit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D307D9F7-E128-4A6B-9808-5DD0FE27B14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>
              <a:buFont typeface="+mj-lt"/>
              <a:buAutoNum type="arabicPeriod"/>
            </a:pPr>
            <a:r>
              <a:rPr lang="de-DE" sz="1800" dirty="0">
                <a:latin typeface="+mn-lt"/>
              </a:rPr>
              <a:t>Themenbereiche DLT / IOT vorstellen &amp; abgrenzen</a:t>
            </a:r>
          </a:p>
          <a:p>
            <a:pPr>
              <a:buFont typeface="+mj-lt"/>
              <a:buAutoNum type="arabicPeriod"/>
            </a:pPr>
            <a:r>
              <a:rPr lang="de-DE" sz="1800" dirty="0">
                <a:latin typeface="+mn-lt"/>
              </a:rPr>
              <a:t>Anwendungsfall aufstellen</a:t>
            </a:r>
          </a:p>
          <a:p>
            <a:pPr>
              <a:buFont typeface="+mj-lt"/>
              <a:buAutoNum type="arabicPeriod"/>
            </a:pPr>
            <a:r>
              <a:rPr lang="de-DE" sz="1800" dirty="0">
                <a:latin typeface="+mn-lt"/>
              </a:rPr>
              <a:t>Anforderungen ableiten, kategorisieren und rekursiv reduzieren (hinsichtlich DLT-Relevanz)</a:t>
            </a:r>
          </a:p>
          <a:p>
            <a:pPr>
              <a:buFont typeface="+mj-lt"/>
              <a:buAutoNum type="arabicPeriod"/>
            </a:pPr>
            <a:r>
              <a:rPr lang="de-DE" sz="1800" dirty="0">
                <a:latin typeface="+mn-lt"/>
              </a:rPr>
              <a:t>DLTs vorstellen und gegen Anforderungen prüfen, Bewertung &amp; Ranking durchführen, Auswahl eines DLTs</a:t>
            </a:r>
          </a:p>
          <a:p>
            <a:pPr>
              <a:buFont typeface="+mj-lt"/>
              <a:buAutoNum type="arabicPeriod"/>
            </a:pPr>
            <a:r>
              <a:rPr lang="de-DE" sz="1800" dirty="0">
                <a:latin typeface="+mn-lt"/>
              </a:rPr>
              <a:t>Problem lösen durch </a:t>
            </a:r>
            <a:r>
              <a:rPr lang="de-DE" sz="1800" dirty="0" err="1">
                <a:latin typeface="+mn-lt"/>
              </a:rPr>
              <a:t>PoC</a:t>
            </a:r>
            <a:endParaRPr lang="de-DE" sz="1800" dirty="0">
              <a:latin typeface="+mn-lt"/>
            </a:endParaRPr>
          </a:p>
          <a:p>
            <a:pPr>
              <a:buFont typeface="+mj-lt"/>
              <a:buAutoNum type="arabicPeriod"/>
            </a:pPr>
            <a:r>
              <a:rPr lang="de-DE" sz="1800" dirty="0">
                <a:latin typeface="+mn-lt"/>
              </a:rPr>
              <a:t>Bewertung, Fazit &amp; Ausblick</a:t>
            </a:r>
          </a:p>
        </p:txBody>
      </p:sp>
      <p:pic>
        <p:nvPicPr>
          <p:cNvPr id="107" name="Inhaltsplatzhalter 5">
            <a:extLst>
              <a:ext uri="{FF2B5EF4-FFF2-40B4-BE49-F238E27FC236}">
                <a16:creationId xmlns:a16="http://schemas.microsoft.com/office/drawing/2014/main" id="{7D043F0F-04DE-41E1-8B3A-46240B18F7E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7"/>
          <a:srcRect/>
          <a:stretch/>
        </p:blipFill>
        <p:spPr>
          <a:xfrm>
            <a:off x="628650" y="3075441"/>
            <a:ext cx="3886200" cy="1983468"/>
          </a:xfrm>
        </p:spPr>
      </p:pic>
      <p:sp>
        <p:nvSpPr>
          <p:cNvPr id="10" name="Flussdiagramm: Verbinder 9">
            <a:extLst>
              <a:ext uri="{FF2B5EF4-FFF2-40B4-BE49-F238E27FC236}">
                <a16:creationId xmlns:a16="http://schemas.microsoft.com/office/drawing/2014/main" id="{EE2774E6-FE34-4DA5-A530-CD75499A56E0}"/>
              </a:ext>
            </a:extLst>
          </p:cNvPr>
          <p:cNvSpPr/>
          <p:nvPr/>
        </p:nvSpPr>
        <p:spPr>
          <a:xfrm>
            <a:off x="514350" y="2915293"/>
            <a:ext cx="288000" cy="2880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1</a:t>
            </a:r>
            <a:endParaRPr lang="de-DE" dirty="0"/>
          </a:p>
        </p:txBody>
      </p:sp>
      <p:sp>
        <p:nvSpPr>
          <p:cNvPr id="108" name="Flussdiagramm: Verbinder 107">
            <a:extLst>
              <a:ext uri="{FF2B5EF4-FFF2-40B4-BE49-F238E27FC236}">
                <a16:creationId xmlns:a16="http://schemas.microsoft.com/office/drawing/2014/main" id="{46246AE7-3E0B-4519-8EB0-352008002261}"/>
              </a:ext>
            </a:extLst>
          </p:cNvPr>
          <p:cNvSpPr/>
          <p:nvPr/>
        </p:nvSpPr>
        <p:spPr>
          <a:xfrm>
            <a:off x="1669798" y="3149980"/>
            <a:ext cx="288000" cy="2880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2</a:t>
            </a:r>
            <a:endParaRPr lang="de-DE" dirty="0"/>
          </a:p>
        </p:txBody>
      </p:sp>
      <p:sp>
        <p:nvSpPr>
          <p:cNvPr id="109" name="Flussdiagramm: Verbinder 108">
            <a:extLst>
              <a:ext uri="{FF2B5EF4-FFF2-40B4-BE49-F238E27FC236}">
                <a16:creationId xmlns:a16="http://schemas.microsoft.com/office/drawing/2014/main" id="{A60A8344-E8C6-4E56-82C1-7DE83FD19A59}"/>
              </a:ext>
            </a:extLst>
          </p:cNvPr>
          <p:cNvSpPr/>
          <p:nvPr/>
        </p:nvSpPr>
        <p:spPr>
          <a:xfrm>
            <a:off x="2051720" y="4437112"/>
            <a:ext cx="288000" cy="2880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3</a:t>
            </a:r>
            <a:endParaRPr lang="de-DE" dirty="0"/>
          </a:p>
        </p:txBody>
      </p:sp>
      <p:sp>
        <p:nvSpPr>
          <p:cNvPr id="110" name="Flussdiagramm: Verbinder 109">
            <a:extLst>
              <a:ext uri="{FF2B5EF4-FFF2-40B4-BE49-F238E27FC236}">
                <a16:creationId xmlns:a16="http://schemas.microsoft.com/office/drawing/2014/main" id="{1C7C1235-8923-4511-9EE2-84F6F5FA3469}"/>
              </a:ext>
            </a:extLst>
          </p:cNvPr>
          <p:cNvSpPr/>
          <p:nvPr/>
        </p:nvSpPr>
        <p:spPr>
          <a:xfrm>
            <a:off x="3574945" y="2995525"/>
            <a:ext cx="288000" cy="2880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4</a:t>
            </a:r>
            <a:endParaRPr lang="de-DE" dirty="0"/>
          </a:p>
        </p:txBody>
      </p:sp>
      <p:sp>
        <p:nvSpPr>
          <p:cNvPr id="113" name="Flussdiagramm: Verbinder 112">
            <a:extLst>
              <a:ext uri="{FF2B5EF4-FFF2-40B4-BE49-F238E27FC236}">
                <a16:creationId xmlns:a16="http://schemas.microsoft.com/office/drawing/2014/main" id="{6234DE98-1FED-4FA1-B37B-630776E78C43}"/>
              </a:ext>
            </a:extLst>
          </p:cNvPr>
          <p:cNvSpPr/>
          <p:nvPr/>
        </p:nvSpPr>
        <p:spPr>
          <a:xfrm>
            <a:off x="4148497" y="3573016"/>
            <a:ext cx="288000" cy="2880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6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A391621-C9A5-4433-8BCD-14BE8D499D1A}"/>
              </a:ext>
            </a:extLst>
          </p:cNvPr>
          <p:cNvSpPr/>
          <p:nvPr/>
        </p:nvSpPr>
        <p:spPr>
          <a:xfrm>
            <a:off x="4015368" y="2985904"/>
            <a:ext cx="45719" cy="2160000"/>
          </a:xfrm>
          <a:prstGeom prst="rect">
            <a:avLst/>
          </a:prstGeom>
          <a:noFill/>
          <a:ln w="952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D0A9F8B-A111-4008-A3B6-BE56CF6E177E}"/>
              </a:ext>
            </a:extLst>
          </p:cNvPr>
          <p:cNvSpPr/>
          <p:nvPr/>
        </p:nvSpPr>
        <p:spPr>
          <a:xfrm>
            <a:off x="628650" y="6021287"/>
            <a:ext cx="4572000" cy="615703"/>
          </a:xfrm>
          <a:prstGeom prst="rect">
            <a:avLst/>
          </a:prstGeom>
          <a:noFill/>
          <a:ln w="952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Konkretes Problem: „Ich möchte meinen IOT-</a:t>
            </a:r>
            <a:r>
              <a:rPr lang="de-DE" sz="1400" dirty="0" err="1">
                <a:solidFill>
                  <a:schemeClr val="tx1"/>
                </a:solidFill>
              </a:rPr>
              <a:t>Usecase</a:t>
            </a:r>
            <a:r>
              <a:rPr lang="de-DE" sz="1400" dirty="0">
                <a:solidFill>
                  <a:schemeClr val="tx1"/>
                </a:solidFill>
              </a:rPr>
              <a:t> (konkret: Anforderungen [1], [2], [3]) mit DLT [XYZ] lösen.“</a:t>
            </a:r>
          </a:p>
        </p:txBody>
      </p:sp>
    </p:spTree>
    <p:extLst>
      <p:ext uri="{BB962C8B-B14F-4D97-AF65-F5344CB8AC3E}">
        <p14:creationId xmlns:p14="http://schemas.microsoft.com/office/powerpoint/2010/main" val="13232608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0B3D837-D28D-4E30-BE95-51CAC97F91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ssbare Ziele &amp; Ergebniss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943F5E1-9EB7-4EA2-AB13-E1A27887BA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/>
              <a:t>Das Problem „Ich möchte meinen IOT-</a:t>
            </a:r>
            <a:r>
              <a:rPr lang="de-DE" dirty="0" err="1"/>
              <a:t>Usecase</a:t>
            </a:r>
            <a:r>
              <a:rPr lang="de-DE" dirty="0"/>
              <a:t> [ABC] mit DLT [XYZ] lösen.“ gilt als erfüllt, wenn…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e-DE" dirty="0"/>
              <a:t>… die abgeleiteten Anforderungen mit dem </a:t>
            </a:r>
            <a:r>
              <a:rPr lang="de-DE" dirty="0" err="1"/>
              <a:t>PoC</a:t>
            </a:r>
            <a:r>
              <a:rPr lang="de-DE" dirty="0"/>
              <a:t> erfüllt werden.</a:t>
            </a:r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Das Problem (s.o.) ist eine Spezialisierung der These, welches im Laufe der Arbeitet hergeleitet und gelöst wird; </a:t>
            </a:r>
            <a:r>
              <a:rPr lang="de-DE" dirty="0" err="1"/>
              <a:t>v.v</a:t>
            </a:r>
            <a:r>
              <a:rPr lang="de-DE" dirty="0"/>
              <a:t> ist die These (siehe Folie 1) eine Generalisierung des Problems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de-DE" dirty="0"/>
              <a:t>Die These wird in der Arbeit abschließend diskutiert</a:t>
            </a:r>
          </a:p>
        </p:txBody>
      </p:sp>
    </p:spTree>
    <p:extLst>
      <p:ext uri="{BB962C8B-B14F-4D97-AF65-F5344CB8AC3E}">
        <p14:creationId xmlns:p14="http://schemas.microsoft.com/office/powerpoint/2010/main" val="734205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95EAA40-F85F-489E-8035-90129523A5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46E4D78-1640-4079-A0C1-ED7A709AFD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Weitergehende Forschungsthemen (in dieser Arbeit nicht behandelt) könnten sein:</a:t>
            </a:r>
          </a:p>
          <a:p>
            <a:r>
              <a:rPr lang="de-DE" dirty="0"/>
              <a:t>Direkter Vergleich dieser Lösung (DLT für IOT) mit anderen Technologien</a:t>
            </a:r>
          </a:p>
          <a:p>
            <a:r>
              <a:rPr lang="de-DE" dirty="0"/>
              <a:t>Weitere IOT-Anwendungsfälle umsetzen oder umgesetzten Anwendungsfall erweitern, um Ergebnisse zu untermauer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07012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xa6SYmTRqxzCoPeypt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mI6yFsTsW9JrwaA9x7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zlI.EHQ3C8U5ebaz1Q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OIUx_kRLmtopMiyvNu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LM4cM5SjiyyNPJ7hjS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LM4cM5SjiyyNPJ7hjS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slV1EmSdSESJ6TtEK8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aFCZ4cRISlwuAWsaUs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5SR0wYRka7X_28ZOQX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RWU6TTN.4f4wSns.yaQ"/>
</p:tagLst>
</file>

<file path=ppt/theme/theme1.xml><?xml version="1.0" encoding="utf-8"?>
<a:theme xmlns:a="http://schemas.openxmlformats.org/drawingml/2006/main" name="Dark Space 2">
  <a:themeElements>
    <a:clrScheme name="Dunkler Hintergrund">
      <a:dk1>
        <a:srgbClr val="FFFFFF"/>
      </a:dk1>
      <a:lt1>
        <a:srgbClr val="000000"/>
      </a:lt1>
      <a:dk2>
        <a:srgbClr val="E7E6E6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yle-Guide_V3" id="{8754BA6A-F77E-4A41-8E21-15300AC6FCFE}" vid="{5C652341-BCE7-8947-932A-EA902A9D3CA4}"/>
    </a:ext>
  </a:extLst>
</a:theme>
</file>

<file path=ppt/theme/theme10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pe Hope 1">
  <a:themeElements>
    <a:clrScheme name="Dunkler Hintergrund">
      <a:dk1>
        <a:srgbClr val="FFFFFF"/>
      </a:dk1>
      <a:lt1>
        <a:srgbClr val="000000"/>
      </a:lt1>
      <a:dk2>
        <a:srgbClr val="E7E6E6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yle-Guide_V3" id="{8754BA6A-F77E-4A41-8E21-15300AC6FCFE}" vid="{D77B1583-7852-114F-9871-FC0310185BA3}"/>
    </a:ext>
  </a:extLst>
</a:theme>
</file>

<file path=ppt/theme/theme3.xml><?xml version="1.0" encoding="utf-8"?>
<a:theme xmlns:a="http://schemas.openxmlformats.org/drawingml/2006/main" name="Cape Hope 2">
  <a:themeElements>
    <a:clrScheme name="Dunkler Hintergrund">
      <a:dk1>
        <a:srgbClr val="FFFFFF"/>
      </a:dk1>
      <a:lt1>
        <a:srgbClr val="000000"/>
      </a:lt1>
      <a:dk2>
        <a:srgbClr val="E7E6E6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yle-Guide_V3" id="{8754BA6A-F77E-4A41-8E21-15300AC6FCFE}" vid="{9AD299F6-0BAB-FF45-9540-6C414CBADE0D}"/>
    </a:ext>
  </a:extLst>
</a:theme>
</file>

<file path=ppt/theme/theme4.xml><?xml version="1.0" encoding="utf-8"?>
<a:theme xmlns:a="http://schemas.openxmlformats.org/drawingml/2006/main" name="Deep Sea 1">
  <a:themeElements>
    <a:clrScheme name="Dunkler Hintergrund">
      <a:dk1>
        <a:srgbClr val="FFFFFF"/>
      </a:dk1>
      <a:lt1>
        <a:srgbClr val="000000"/>
      </a:lt1>
      <a:dk2>
        <a:srgbClr val="E7E6E6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yle-Guide_V3" id="{8754BA6A-F77E-4A41-8E21-15300AC6FCFE}" vid="{031717FC-54AC-A348-AB29-0872DDE17B7F}"/>
    </a:ext>
  </a:extLst>
</a:theme>
</file>

<file path=ppt/theme/theme5.xml><?xml version="1.0" encoding="utf-8"?>
<a:theme xmlns:a="http://schemas.openxmlformats.org/drawingml/2006/main" name="Deep Sea 2">
  <a:themeElements>
    <a:clrScheme name="Dunkler Hintergrund">
      <a:dk1>
        <a:srgbClr val="FFFFFF"/>
      </a:dk1>
      <a:lt1>
        <a:srgbClr val="000000"/>
      </a:lt1>
      <a:dk2>
        <a:srgbClr val="E7E6E6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yle-Guide_V3" id="{8754BA6A-F77E-4A41-8E21-15300AC6FCFE}" vid="{0C9B12C0-EA3C-DA4A-82D0-0BABE246956C}"/>
    </a:ext>
  </a:extLst>
</a:theme>
</file>

<file path=ppt/theme/theme6.xml><?xml version="1.0" encoding="utf-8"?>
<a:theme xmlns:a="http://schemas.openxmlformats.org/drawingml/2006/main" name="Pink Horizon 1">
  <a:themeElements>
    <a:clrScheme name="Dunkler Hintergrund">
      <a:dk1>
        <a:srgbClr val="FFFFFF"/>
      </a:dk1>
      <a:lt1>
        <a:srgbClr val="000000"/>
      </a:lt1>
      <a:dk2>
        <a:srgbClr val="E7E6E6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yle-Guide_V3" id="{8754BA6A-F77E-4A41-8E21-15300AC6FCFE}" vid="{2E95FD59-E469-8146-9D92-594DF8B2FDB5}"/>
    </a:ext>
  </a:extLst>
</a:theme>
</file>

<file path=ppt/theme/theme7.xml><?xml version="1.0" encoding="utf-8"?>
<a:theme xmlns:a="http://schemas.openxmlformats.org/drawingml/2006/main" name="Pink Horizon 2">
  <a:themeElements>
    <a:clrScheme name="Dunkler Hintergrund">
      <a:dk1>
        <a:srgbClr val="FFFFFF"/>
      </a:dk1>
      <a:lt1>
        <a:srgbClr val="000000"/>
      </a:lt1>
      <a:dk2>
        <a:srgbClr val="E7E6E6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yle-Guide_V3" id="{8754BA6A-F77E-4A41-8E21-15300AC6FCFE}" vid="{8ADBF01C-01A7-9343-81AA-7467D8B2E56D}"/>
    </a:ext>
  </a:extLst>
</a:theme>
</file>

<file path=ppt/theme/theme8.xml><?xml version="1.0" encoding="utf-8"?>
<a:theme xmlns:a="http://schemas.openxmlformats.org/drawingml/2006/main" name="Midnight">
  <a:themeElements>
    <a:clrScheme name="Dunkler Hintergrund">
      <a:dk1>
        <a:srgbClr val="FFFFFF"/>
      </a:dk1>
      <a:lt1>
        <a:srgbClr val="000000"/>
      </a:lt1>
      <a:dk2>
        <a:srgbClr val="E7E6E6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yle-Guide_V3" id="{8754BA6A-F77E-4A41-8E21-15300AC6FCFE}" vid="{17899144-5591-7846-BFB4-839688275DB1}"/>
    </a:ext>
  </a:extLst>
</a:theme>
</file>

<file path=ppt/theme/theme9.xml><?xml version="1.0" encoding="utf-8"?>
<a:theme xmlns:a="http://schemas.openxmlformats.org/drawingml/2006/main" name="Clean Whi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yle-Guide_V3" id="{8754BA6A-F77E-4A41-8E21-15300AC6FCFE}" vid="{ED1384C6-2D2F-CB40-A731-6124A14BA366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4770CC7-F2EB-EC42-8445-D16677329100}">
  <we:reference id="wa104381335" version="1.0.0.1" store="en-US" storeType="OMEX"/>
  <we:alternateReferences>
    <we:reference id="wa104381335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83C29D1F8A4C34185509A8A1AE40315" ma:contentTypeVersion="2" ma:contentTypeDescription="Ein neues Dokument erstellen." ma:contentTypeScope="" ma:versionID="772037e28d47e39f32e906ac9ff94383">
  <xsd:schema xmlns:xsd="http://www.w3.org/2001/XMLSchema" xmlns:xs="http://www.w3.org/2001/XMLSchema" xmlns:p="http://schemas.microsoft.com/office/2006/metadata/properties" xmlns:ns3="52395fc8-4895-476e-8332-158722e0cc2e" targetNamespace="http://schemas.microsoft.com/office/2006/metadata/properties" ma:root="true" ma:fieldsID="9bd827dcf578ca5afe5086bd71648c26" ns3:_="">
    <xsd:import namespace="52395fc8-4895-476e-8332-158722e0cc2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395fc8-4895-476e-8332-158722e0cc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1D0D665-6608-44CD-B76F-A3E928D1DEA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A7329E7-716E-4EFB-AC9E-0A49F5701C24}">
  <ds:schemaRefs>
    <ds:schemaRef ds:uri="http://schemas.microsoft.com/office/2006/documentManagement/types"/>
    <ds:schemaRef ds:uri="52395fc8-4895-476e-8332-158722e0cc2e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4AD0760-F95B-4D14-A391-E249952B62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395fc8-4895-476e-8332-158722e0cc2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yle-Guide_V3</Template>
  <TotalTime>0</TotalTime>
  <Words>273</Words>
  <Application>Microsoft Office PowerPoint</Application>
  <PresentationFormat>Bildschirmpräsentation (4:3)</PresentationFormat>
  <Paragraphs>44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9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9" baseType="lpstr">
      <vt:lpstr>Arial</vt:lpstr>
      <vt:lpstr>Calibri</vt:lpstr>
      <vt:lpstr>Calibri Light</vt:lpstr>
      <vt:lpstr>Wingdings</vt:lpstr>
      <vt:lpstr>Dark Space 2</vt:lpstr>
      <vt:lpstr>Cape Hope 1</vt:lpstr>
      <vt:lpstr>Cape Hope 2</vt:lpstr>
      <vt:lpstr>Deep Sea 1</vt:lpstr>
      <vt:lpstr>Deep Sea 2</vt:lpstr>
      <vt:lpstr>Pink Horizon 1</vt:lpstr>
      <vt:lpstr>Pink Horizon 2</vt:lpstr>
      <vt:lpstr>Midnight</vt:lpstr>
      <vt:lpstr>Clean White</vt:lpstr>
      <vt:lpstr>think-cell Folie</vt:lpstr>
      <vt:lpstr>These</vt:lpstr>
      <vt:lpstr>Vorgehen Masterarbeit</vt:lpstr>
      <vt:lpstr>Vorgehen Masterarbeit</vt:lpstr>
      <vt:lpstr>Messbare Ziele &amp; Ergebnisse</vt:lpstr>
      <vt:lpstr>Ausblic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ebastian Kanz</dc:creator>
  <cp:lastModifiedBy>Sebastian Kanz</cp:lastModifiedBy>
  <cp:revision>4</cp:revision>
  <dcterms:created xsi:type="dcterms:W3CDTF">2019-10-16T07:27:16Z</dcterms:created>
  <dcterms:modified xsi:type="dcterms:W3CDTF">2019-10-16T13:1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3C29D1F8A4C34185509A8A1AE40315</vt:lpwstr>
  </property>
</Properties>
</file>